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tiff" ContentType="image/tiff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notesSlides/notesSlide2.xml" ContentType="application/vnd.openxmlformats-officedocument.presentationml.notesSlide+xml"/>
  <Override PartName="/ppt/tags/tag2.xml" ContentType="application/vnd.openxmlformats-officedocument.presentationml.tags+xml"/>
  <Override PartName="/ppt/notesSlides/notesSlide3.xml" ContentType="application/vnd.openxmlformats-officedocument.presentationml.notesSlide+xml"/>
  <Override PartName="/ppt/tags/tag3.xml" ContentType="application/vnd.openxmlformats-officedocument.presentationml.tags+xml"/>
  <Override PartName="/ppt/notesSlides/notesSlide4.xml" ContentType="application/vnd.openxmlformats-officedocument.presentationml.notesSlide+xml"/>
  <Override PartName="/ppt/tags/tag4.xml" ContentType="application/vnd.openxmlformats-officedocument.presentationml.tags+xml"/>
  <Override PartName="/ppt/notesSlides/notesSlide5.xml" ContentType="application/vnd.openxmlformats-officedocument.presentationml.notesSlide+xml"/>
  <Override PartName="/ppt/tags/tag5.xml" ContentType="application/vnd.openxmlformats-officedocument.presentationml.tags+xml"/>
  <Override PartName="/ppt/notesSlides/notesSlide6.xml" ContentType="application/vnd.openxmlformats-officedocument.presentationml.notesSlide+xml"/>
  <Override PartName="/ppt/tags/tag6.xml" ContentType="application/vnd.openxmlformats-officedocument.presentationml.tags+xml"/>
  <Override PartName="/ppt/notesSlides/notesSlide7.xml" ContentType="application/vnd.openxmlformats-officedocument.presentationml.notesSlid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notesSlides/notesSlide10.xml" ContentType="application/vnd.openxmlformats-officedocument.presentationml.notesSlide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notesSlides/notesSlide11.xml" ContentType="application/vnd.openxmlformats-officedocument.presentationml.notesSlide+xml"/>
  <Override PartName="/ppt/tags/tag22.xml" ContentType="application/vnd.openxmlformats-officedocument.presentationml.tags+xml"/>
  <Override PartName="/ppt/notesSlides/notesSlide12.xml" ContentType="application/vnd.openxmlformats-officedocument.presentationml.notesSlide+xml"/>
  <Override PartName="/ppt/tags/tag23.xml" ContentType="application/vnd.openxmlformats-officedocument.presentationml.tags+xml"/>
  <Override PartName="/ppt/notesSlides/notesSlide13.xml" ContentType="application/vnd.openxmlformats-officedocument.presentationml.notesSlide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notesSlides/notesSlide14.xml" ContentType="application/vnd.openxmlformats-officedocument.presentationml.notesSlide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notesSlides/notesSlide15.xml" ContentType="application/vnd.openxmlformats-officedocument.presentationml.notesSlide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notesSlides/notesSlide16.xml" ContentType="application/vnd.openxmlformats-officedocument.presentationml.notesSlide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notesSlides/notesSlide17.xml" ContentType="application/vnd.openxmlformats-officedocument.presentationml.notesSlide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notesSlides/notesSlide18.xml" ContentType="application/vnd.openxmlformats-officedocument.presentationml.notesSlide+xml"/>
  <Override PartName="/ppt/tags/tag41.xml" ContentType="application/vnd.openxmlformats-officedocument.presentationml.tags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4"/>
  </p:sldMasterIdLst>
  <p:notesMasterIdLst>
    <p:notesMasterId r:id="rId34"/>
  </p:notesMasterIdLst>
  <p:sldIdLst>
    <p:sldId id="1487" r:id="rId5"/>
    <p:sldId id="877" r:id="rId6"/>
    <p:sldId id="887" r:id="rId7"/>
    <p:sldId id="361" r:id="rId8"/>
    <p:sldId id="918" r:id="rId9"/>
    <p:sldId id="920" r:id="rId10"/>
    <p:sldId id="912" r:id="rId11"/>
    <p:sldId id="919" r:id="rId12"/>
    <p:sldId id="882" r:id="rId13"/>
    <p:sldId id="928" r:id="rId14"/>
    <p:sldId id="884" r:id="rId15"/>
    <p:sldId id="380" r:id="rId16"/>
    <p:sldId id="881" r:id="rId17"/>
    <p:sldId id="369" r:id="rId18"/>
    <p:sldId id="926" r:id="rId19"/>
    <p:sldId id="370" r:id="rId20"/>
    <p:sldId id="371" r:id="rId21"/>
    <p:sldId id="927" r:id="rId22"/>
    <p:sldId id="916" r:id="rId23"/>
    <p:sldId id="917" r:id="rId24"/>
    <p:sldId id="373" r:id="rId25"/>
    <p:sldId id="364" r:id="rId26"/>
    <p:sldId id="365" r:id="rId27"/>
    <p:sldId id="366" r:id="rId28"/>
    <p:sldId id="367" r:id="rId29"/>
    <p:sldId id="1488" r:id="rId30"/>
    <p:sldId id="931" r:id="rId31"/>
    <p:sldId id="868" r:id="rId32"/>
    <p:sldId id="292" r:id="rId33"/>
  </p:sldIdLst>
  <p:sldSz cx="9144000" cy="5143500" type="screen16x9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462">
          <p15:clr>
            <a:srgbClr val="A4A3A4"/>
          </p15:clr>
        </p15:guide>
        <p15:guide id="2" pos="912">
          <p15:clr>
            <a:srgbClr val="A4A3A4"/>
          </p15:clr>
        </p15:guide>
        <p15:guide id="3" orient="horz" pos="347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F3A5B"/>
    <a:srgbClr val="E58D34"/>
    <a:srgbClr val="2F5897"/>
    <a:srgbClr val="FDB913"/>
    <a:srgbClr val="103259"/>
    <a:srgbClr val="6F6F6F"/>
    <a:srgbClr val="98A4A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1E171933-4619-4E11-9A3F-F7608DF75F80}" styleName="Medium Style 1 - Acc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4">
              <a:tint val="20000"/>
            </a:schemeClr>
          </a:solidFill>
        </a:fill>
      </a:tcStyle>
    </a:band1H>
    <a:band1V>
      <a:tcStyle>
        <a:tcBdr/>
        <a:fill>
          <a:solidFill>
            <a:schemeClr val="accent4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5266" autoAdjust="0"/>
    <p:restoredTop sz="86395" autoAdjust="0"/>
  </p:normalViewPr>
  <p:slideViewPr>
    <p:cSldViewPr snapToGrid="0" snapToObjects="1">
      <p:cViewPr varScale="1">
        <p:scale>
          <a:sx n="119" d="100"/>
          <a:sy n="119" d="100"/>
        </p:scale>
        <p:origin x="114" y="162"/>
      </p:cViewPr>
      <p:guideLst>
        <p:guide orient="horz" pos="462"/>
        <p:guide pos="912"/>
        <p:guide orient="horz" pos="347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21" Type="http://schemas.openxmlformats.org/officeDocument/2006/relationships/slide" Target="slides/slide17.xml"/><Relationship Id="rId34" Type="http://schemas.openxmlformats.org/officeDocument/2006/relationships/notesMaster" Target="notesMasters/notesMaster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slide" Target="slides/slide25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theme" Target="theme/theme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viewProps" Target="viewProp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presProps" Target="presProps.xml"/><Relationship Id="rId8" Type="http://schemas.openxmlformats.org/officeDocument/2006/relationships/slide" Target="slides/slide4.xml"/><Relationship Id="rId3" Type="http://schemas.openxmlformats.org/officeDocument/2006/relationships/customXml" Target="../customXml/item3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7CE9C98-8300-DB42-8AEF-2E28F3751294}" type="datetimeFigureOut">
              <a:rPr lang="en-US" smtClean="0"/>
              <a:t>7/28/2019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06E9F1A-EFE4-BD44-8B18-7B9B2E96147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574786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06E9F1A-EFE4-BD44-8B18-7B9B2E96147E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84862066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CA826CD-17A5-4E92-B146-C3C4B401182B}" type="slidenum">
              <a:rPr lang="en-US" smtClean="0"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6190759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CA826CD-17A5-4E92-B146-C3C4B401182B}" type="slidenum">
              <a:rPr lang="en-US" smtClean="0"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66554011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CA826CD-17A5-4E92-B146-C3C4B401182B}" type="slidenum">
              <a:rPr lang="en-US" smtClean="0"/>
              <a:t>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71043258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CA826CD-17A5-4E92-B146-C3C4B401182B}" type="slidenum">
              <a:rPr lang="en-US" smtClean="0"/>
              <a:t>2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13760735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CA826CD-17A5-4E92-B146-C3C4B401182B}" type="slidenum">
              <a:rPr lang="en-US" smtClean="0"/>
              <a:t>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95385452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CA826CD-17A5-4E92-B146-C3C4B401182B}" type="slidenum">
              <a:rPr lang="en-US" smtClean="0"/>
              <a:t>2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30850039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CA826CD-17A5-4E92-B146-C3C4B401182B}" type="slidenum">
              <a:rPr lang="en-US" smtClean="0"/>
              <a:t>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86963864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CA826CD-17A5-4E92-B146-C3C4B401182B}" type="slidenum">
              <a:rPr lang="en-US" smtClean="0"/>
              <a:t>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44567825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CA826CD-17A5-4E92-B146-C3C4B401182B}" type="slidenum">
              <a:rPr lang="en-US" smtClean="0"/>
              <a:t>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34604473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06E9F1A-EFE4-BD44-8B18-7B9B2E96147E}" type="slidenum">
              <a:rPr lang="en-US" smtClean="0"/>
              <a:t>2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885017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CA826CD-17A5-4E92-B146-C3C4B401182B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4882577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06E9F1A-EFE4-BD44-8B18-7B9B2E96147E}" type="slidenum">
              <a:rPr lang="en-US" smtClean="0"/>
              <a:t>2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9209990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CA826CD-17A5-4E92-B146-C3C4B401182B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2517565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CA826CD-17A5-4E92-B146-C3C4B401182B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7254454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CA826CD-17A5-4E92-B146-C3C4B401182B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4122193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CA826CD-17A5-4E92-B146-C3C4B401182B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4795102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CA826CD-17A5-4E92-B146-C3C4B401182B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6693241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CA826CD-17A5-4E92-B146-C3C4B401182B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0044755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otes Placeholder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85922519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457201"/>
            <a:ext cx="7772400" cy="3200400"/>
          </a:xfrm>
        </p:spPr>
        <p:txBody>
          <a:bodyPr anchor="b">
            <a:noAutofit/>
          </a:bodyPr>
          <a:lstStyle>
            <a:lvl1pPr>
              <a:lnSpc>
                <a:spcPct val="100000"/>
              </a:lnSpc>
              <a:defRPr sz="80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714750"/>
            <a:ext cx="6400800" cy="914400"/>
          </a:xfrm>
        </p:spPr>
        <p:txBody>
          <a:bodyPr>
            <a:normAutofit/>
          </a:bodyPr>
          <a:lstStyle>
            <a:lvl1pPr marL="0" indent="0" algn="ctr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16C5678-EE20-4FA5-88E2-6E0BD67A2E26}" type="datetime1">
              <a:rPr lang="en-US" smtClean="0"/>
              <a:t>7/28/2019</a:t>
            </a:fld>
            <a:endParaRPr lang="en-US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A9B540C-44DA-4F69-89C9-7C84606640D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>
          <a:xfrm>
            <a:off x="659166" y="4767263"/>
            <a:ext cx="2847975" cy="273844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Footer Text</a:t>
            </a:r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A051B39-B140-43FE-96DB-472A2B59CE7C}" type="datetime1">
              <a:rPr lang="en-US" smtClean="0"/>
              <a:t>7/28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659166" y="4767263"/>
            <a:ext cx="2847975" cy="273844"/>
          </a:xfrm>
          <a:prstGeom prst="rect">
            <a:avLst/>
          </a:prstGeom>
        </p:spPr>
        <p:txBody>
          <a:bodyPr/>
          <a:lstStyle/>
          <a:p>
            <a:r>
              <a:rPr lang="en-US"/>
              <a:t>Footer Text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9B540C-44DA-4F69-89C9-7C84606640D3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05979"/>
            <a:ext cx="2057400" cy="4388644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05979"/>
            <a:ext cx="6019800" cy="4388644"/>
          </a:xfrm>
        </p:spPr>
        <p:txBody>
          <a:bodyPr vert="eaVert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1" y="4767263"/>
            <a:ext cx="1373716" cy="273844"/>
          </a:xfrm>
        </p:spPr>
        <p:txBody>
          <a:bodyPr/>
          <a:lstStyle>
            <a:lvl1pPr algn="l">
              <a:defRPr/>
            </a:lvl1pPr>
          </a:lstStyle>
          <a:p>
            <a:fld id="{DA600BB2-27C5-458B-ABCE-839C88CF47CE}" type="datetime1">
              <a:rPr lang="en-US" smtClean="0"/>
              <a:pPr/>
              <a:t>7/28/2019</a:t>
            </a:fld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9B540C-44DA-4F69-89C9-7C84606640D3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buFont typeface="Arial" pitchFamily="34" charset="0"/>
              <a:buChar char="•"/>
              <a:defRPr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0C4986D-6BE9-4264-908F-02DB36FD8D6C}" type="datetime1">
              <a:rPr lang="en-US" smtClean="0"/>
              <a:pPr/>
              <a:t>7/28/2019</a:t>
            </a:fld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A9B540C-44DA-4F69-89C9-7C84606640D3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1028701"/>
            <a:ext cx="7772400" cy="1878806"/>
          </a:xfrm>
        </p:spPr>
        <p:txBody>
          <a:bodyPr anchor="b"/>
          <a:lstStyle>
            <a:lvl1pPr algn="ctr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4800" kern="1200" dirty="0" smtClean="0">
                <a:solidFill>
                  <a:schemeClr val="tx2"/>
                </a:solidFill>
                <a:effectLst>
                  <a:outerShdw blurRad="63500" dist="38100" dir="5400000" algn="t" rotWithShape="0">
                    <a:prstClr val="black">
                      <a:alpha val="25000"/>
                    </a:prstClr>
                  </a:outerShdw>
                </a:effectLst>
                <a:latin typeface="+mn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3051573"/>
            <a:ext cx="7772400" cy="848915"/>
          </a:xfrm>
        </p:spPr>
        <p:txBody>
          <a:bodyPr anchor="t"/>
          <a:lstStyle>
            <a:lvl1pPr marL="0" indent="0" algn="ctr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9CAEA93-55E7-4DA9-90C2-089A26EEFEC4}" type="datetime1">
              <a:rPr lang="en-US" smtClean="0"/>
              <a:t>7/28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659166" y="4767263"/>
            <a:ext cx="2847975" cy="273844"/>
          </a:xfrm>
          <a:prstGeom prst="rect">
            <a:avLst/>
          </a:prstGeom>
        </p:spPr>
        <p:txBody>
          <a:bodyPr/>
          <a:lstStyle/>
          <a:p>
            <a:r>
              <a:rPr lang="en-US"/>
              <a:t>Footer Text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9B540C-44DA-4F69-89C9-7C84606640D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Oval 6"/>
          <p:cNvSpPr/>
          <p:nvPr/>
        </p:nvSpPr>
        <p:spPr>
          <a:xfrm>
            <a:off x="4495800" y="2943225"/>
            <a:ext cx="84772" cy="63579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Oval 7"/>
          <p:cNvSpPr/>
          <p:nvPr/>
        </p:nvSpPr>
        <p:spPr>
          <a:xfrm>
            <a:off x="4695825" y="2943225"/>
            <a:ext cx="84772" cy="63579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Oval 8"/>
          <p:cNvSpPr/>
          <p:nvPr/>
        </p:nvSpPr>
        <p:spPr>
          <a:xfrm>
            <a:off x="4296728" y="2943225"/>
            <a:ext cx="84772" cy="63579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200151"/>
            <a:ext cx="4038600" cy="3394472"/>
          </a:xfrm>
        </p:spPr>
        <p:txBody>
          <a:bodyPr/>
          <a:lstStyle>
            <a:lvl1pPr>
              <a:defRPr sz="24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34CF3C7-6809-4F39-BD67-A75817BDDE0A}" type="datetime1">
              <a:rPr lang="en-US" smtClean="0"/>
              <a:t>7/28/2019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659166" y="4767263"/>
            <a:ext cx="2847975" cy="273844"/>
          </a:xfrm>
          <a:prstGeom prst="rect">
            <a:avLst/>
          </a:prstGeom>
        </p:spPr>
        <p:txBody>
          <a:bodyPr/>
          <a:lstStyle/>
          <a:p>
            <a:r>
              <a:rPr lang="en-US"/>
              <a:t>Footer Text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9B540C-44DA-4F69-89C9-7C84606640D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365760" y="1200150"/>
            <a:ext cx="4041648" cy="339471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200150"/>
            <a:ext cx="4040188" cy="457200"/>
          </a:xfrm>
        </p:spPr>
        <p:txBody>
          <a:bodyPr anchor="b">
            <a:noAutofit/>
          </a:bodyPr>
          <a:lstStyle>
            <a:lvl1pPr marL="0" indent="0" algn="ctr"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8201" y="1200150"/>
            <a:ext cx="4041775" cy="457200"/>
          </a:xfrm>
        </p:spPr>
        <p:txBody>
          <a:bodyPr anchor="b">
            <a:noAutofit/>
          </a:bodyPr>
          <a:lstStyle>
            <a:lvl1pPr marL="0" indent="0" algn="ctr"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7EAEB24-CE78-465C-A726-91D0868FA48F}" type="datetime1">
              <a:rPr lang="en-US" smtClean="0"/>
              <a:t>7/28/2019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659166" y="4767263"/>
            <a:ext cx="2847975" cy="273844"/>
          </a:xfrm>
          <a:prstGeom prst="rect">
            <a:avLst/>
          </a:prstGeom>
        </p:spPr>
        <p:txBody>
          <a:bodyPr/>
          <a:lstStyle/>
          <a:p>
            <a:r>
              <a:rPr lang="en-US"/>
              <a:t>Footer Text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9B540C-44DA-4F69-89C9-7C84606640D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3"/>
          </p:nvPr>
        </p:nvSpPr>
        <p:spPr>
          <a:xfrm>
            <a:off x="457200" y="1659636"/>
            <a:ext cx="4041648" cy="293522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Content Placeholder 12"/>
          <p:cNvSpPr>
            <a:spLocks noGrp="1"/>
          </p:cNvSpPr>
          <p:nvPr>
            <p:ph sz="quarter" idx="14"/>
          </p:nvPr>
        </p:nvSpPr>
        <p:spPr>
          <a:xfrm>
            <a:off x="4672584" y="1659637"/>
            <a:ext cx="4041648" cy="293489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0BAADF0-1749-4E8B-9691-B44A5F8C0895}" type="datetime1">
              <a:rPr lang="en-US" smtClean="0"/>
              <a:t>7/28/20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659166" y="4767263"/>
            <a:ext cx="2847975" cy="273844"/>
          </a:xfrm>
          <a:prstGeom prst="rect">
            <a:avLst/>
          </a:prstGeom>
        </p:spPr>
        <p:txBody>
          <a:bodyPr/>
          <a:lstStyle/>
          <a:p>
            <a:r>
              <a:rPr lang="en-US"/>
              <a:t>Footer Text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9B540C-44DA-4F69-89C9-7C84606640D3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8AF628A-A867-4937-BBE5-207DB6F9C51A}" type="datetime1">
              <a:rPr lang="en-US" smtClean="0"/>
              <a:t>7/28/2019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659166" y="4767263"/>
            <a:ext cx="2847975" cy="273844"/>
          </a:xfrm>
          <a:prstGeom prst="rect">
            <a:avLst/>
          </a:prstGeom>
        </p:spPr>
        <p:txBody>
          <a:bodyPr/>
          <a:lstStyle/>
          <a:p>
            <a:r>
              <a:rPr lang="en-US"/>
              <a:t>Footer Tex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9B540C-44DA-4F69-89C9-7C84606640D3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907088" y="200025"/>
            <a:ext cx="3008313" cy="1571625"/>
          </a:xfrm>
        </p:spPr>
        <p:txBody>
          <a:bodyPr anchor="b"/>
          <a:lstStyle>
            <a:lvl1pPr algn="ctr">
              <a:lnSpc>
                <a:spcPct val="100000"/>
              </a:lnSpc>
              <a:defRPr sz="2800" b="0">
                <a:effectLst>
                  <a:outerShdw blurRad="50800" dist="25400" dir="5400000" algn="t" rotWithShape="0">
                    <a:prstClr val="black">
                      <a:alpha val="25000"/>
                    </a:prstClr>
                  </a:outerShdw>
                </a:effectLst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19138" y="204788"/>
            <a:ext cx="4995863" cy="438983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5907088" y="1828801"/>
            <a:ext cx="3008313" cy="2765822"/>
          </a:xfrm>
        </p:spPr>
        <p:txBody>
          <a:bodyPr>
            <a:normAutofit/>
          </a:bodyPr>
          <a:lstStyle>
            <a:lvl1pPr marL="0" indent="0" algn="ctr">
              <a:lnSpc>
                <a:spcPct val="125000"/>
              </a:lnSpc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18BBB94-68E6-4675-A946-F1C5994EDBD7}" type="datetime1">
              <a:rPr lang="en-US" smtClean="0"/>
              <a:t>7/28/2019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659166" y="4767263"/>
            <a:ext cx="2847975" cy="273844"/>
          </a:xfrm>
          <a:prstGeom prst="rect">
            <a:avLst/>
          </a:prstGeom>
        </p:spPr>
        <p:txBody>
          <a:bodyPr/>
          <a:lstStyle/>
          <a:p>
            <a:r>
              <a:rPr lang="en-US"/>
              <a:t>Footer Text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9B540C-44DA-4F69-89C9-7C84606640D3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79576" y="171450"/>
            <a:ext cx="5711824" cy="671513"/>
          </a:xfrm>
        </p:spPr>
        <p:txBody>
          <a:bodyPr anchor="b"/>
          <a:lstStyle>
            <a:lvl1pPr algn="ctr">
              <a:lnSpc>
                <a:spcPct val="100000"/>
              </a:lnSpc>
              <a:defRPr sz="2800" b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508126" y="857250"/>
            <a:ext cx="6054724" cy="3405783"/>
          </a:xfrm>
          <a:ln w="76200">
            <a:solidFill>
              <a:schemeClr val="bg1"/>
            </a:solidFill>
          </a:ln>
          <a:effectLst>
            <a:outerShdw blurRad="88900" dist="50800" dir="5400000" algn="ctr" rotWithShape="0">
              <a:srgbClr val="000000">
                <a:alpha val="25000"/>
              </a:srgbClr>
            </a:outerShdw>
          </a:effectLst>
        </p:spPr>
        <p:txBody>
          <a:bodyPr anchor="t"/>
          <a:lstStyle>
            <a:lvl1pPr marL="0" indent="0" algn="ctr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Drag picture to placeholder or click icon to add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679576" y="4357688"/>
            <a:ext cx="5711824" cy="400050"/>
          </a:xfrm>
        </p:spPr>
        <p:txBody>
          <a:bodyPr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C3B8377-21E3-4835-B75D-4E2847E2750F}" type="datetime1">
              <a:rPr lang="en-US" smtClean="0"/>
              <a:t>7/28/2019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659166" y="4767263"/>
            <a:ext cx="2847975" cy="273844"/>
          </a:xfrm>
          <a:prstGeom prst="rect">
            <a:avLst/>
          </a:prstGeom>
        </p:spPr>
        <p:txBody>
          <a:bodyPr/>
          <a:lstStyle/>
          <a:p>
            <a:r>
              <a:rPr lang="en-US"/>
              <a:t>Footer Text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9B540C-44DA-4F69-89C9-7C84606640D3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0"/>
            <a:ext cx="8229600" cy="120015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200151"/>
            <a:ext cx="8229600" cy="339447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575087" y="4704874"/>
            <a:ext cx="2085975" cy="273844"/>
          </a:xfrm>
          <a:prstGeom prst="rect">
            <a:avLst/>
          </a:prstGeom>
        </p:spPr>
        <p:txBody>
          <a:bodyPr vert="horz" lIns="91440" tIns="45720" rIns="45720" bIns="45720" rtlCol="0" anchor="ctr"/>
          <a:lstStyle>
            <a:lvl1pPr algn="l">
              <a:defRPr sz="120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</a:defRPr>
            </a:lvl1pPr>
          </a:lstStyle>
          <a:p>
            <a:fld id="{B0C4986D-6BE9-4264-908F-02DB36FD8D6C}" type="datetime1">
              <a:rPr lang="en-US" smtClean="0"/>
              <a:pPr/>
              <a:t>7/28/2019</a:t>
            </a:fld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56634" y="4704874"/>
            <a:ext cx="418453" cy="273844"/>
          </a:xfrm>
          <a:prstGeom prst="rect">
            <a:avLst/>
          </a:prstGeom>
        </p:spPr>
        <p:txBody>
          <a:bodyPr vert="horz" lIns="27432" tIns="45720" rIns="45720" bIns="45720" rtlCol="0" anchor="ctr"/>
          <a:lstStyle>
            <a:lvl1pPr algn="l">
              <a:defRPr sz="120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</a:defRPr>
            </a:lvl1pPr>
          </a:lstStyle>
          <a:p>
            <a:fld id="{BA9B540C-44DA-4F69-89C9-7C84606640D3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0" y="5101184"/>
            <a:ext cx="9144000" cy="0"/>
          </a:xfrm>
          <a:prstGeom prst="line">
            <a:avLst/>
          </a:prstGeom>
          <a:ln w="101600" cmpd="sng">
            <a:solidFill>
              <a:srgbClr val="FDB913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hf sldNum="0" hdr="0" ftr="0" dt="0"/>
  <p:txStyles>
    <p:titleStyle>
      <a:lvl1pPr algn="ctr" defTabSz="914400" rtl="0" eaLnBrk="1" latinLnBrk="0" hangingPunct="1">
        <a:lnSpc>
          <a:spcPts val="5800"/>
        </a:lnSpc>
        <a:spcBef>
          <a:spcPct val="0"/>
        </a:spcBef>
        <a:buNone/>
        <a:defRPr sz="5400" kern="1200">
          <a:solidFill>
            <a:schemeClr val="tx2"/>
          </a:solidFill>
          <a:effectLst>
            <a:outerShdw blurRad="63500" dist="38100" dir="5400000" algn="t" rotWithShape="0">
              <a:prstClr val="black">
                <a:alpha val="25000"/>
              </a:prstClr>
            </a:outerShdw>
          </a:effectLst>
          <a:latin typeface="Roboto Light"/>
          <a:ea typeface="+mj-ea"/>
          <a:cs typeface="Roboto Light"/>
        </a:defRPr>
      </a:lvl1pPr>
    </p:titleStyle>
    <p:bodyStyle>
      <a:lvl1pPr marL="342900" indent="-342900" algn="l" defTabSz="914400" rtl="0" eaLnBrk="1" latinLnBrk="0" hangingPunct="1">
        <a:lnSpc>
          <a:spcPts val="3200"/>
        </a:lnSpc>
        <a:spcBef>
          <a:spcPct val="20000"/>
        </a:spcBef>
        <a:buFont typeface="Arial" pitchFamily="34" charset="0"/>
        <a:buChar char="•"/>
        <a:defRPr sz="2400" kern="1200">
          <a:solidFill>
            <a:schemeClr val="tx1">
              <a:lumMod val="50000"/>
              <a:lumOff val="50000"/>
            </a:schemeClr>
          </a:solidFill>
          <a:latin typeface="Roboto Light"/>
          <a:ea typeface="+mn-ea"/>
          <a:cs typeface="Roboto Light"/>
        </a:defRPr>
      </a:lvl1pPr>
      <a:lvl2pPr marL="742950" indent="-285750" algn="l" defTabSz="914400" rtl="0" eaLnBrk="1" latinLnBrk="0" hangingPunct="1">
        <a:spcBef>
          <a:spcPct val="20000"/>
        </a:spcBef>
        <a:buFont typeface="Courier New" pitchFamily="49" charset="0"/>
        <a:buChar char="o"/>
        <a:defRPr sz="1600" kern="1200">
          <a:solidFill>
            <a:schemeClr val="tx1">
              <a:lumMod val="50000"/>
              <a:lumOff val="50000"/>
            </a:schemeClr>
          </a:solidFill>
          <a:latin typeface="Roboto Light"/>
          <a:ea typeface="+mn-ea"/>
          <a:cs typeface="Roboto Light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>
              <a:lumMod val="50000"/>
              <a:lumOff val="50000"/>
            </a:schemeClr>
          </a:solidFill>
          <a:latin typeface="Roboto Light"/>
          <a:ea typeface="+mn-ea"/>
          <a:cs typeface="Roboto Light"/>
        </a:defRPr>
      </a:lvl3pPr>
      <a:lvl4pPr marL="1600200" indent="-228600" algn="l" defTabSz="914400" rtl="0" eaLnBrk="1" latinLnBrk="0" hangingPunct="1">
        <a:spcBef>
          <a:spcPct val="20000"/>
        </a:spcBef>
        <a:buFont typeface="Courier New" pitchFamily="49" charset="0"/>
        <a:buChar char="o"/>
        <a:defRPr sz="1600" kern="1200">
          <a:solidFill>
            <a:schemeClr val="tx1">
              <a:lumMod val="50000"/>
              <a:lumOff val="50000"/>
            </a:schemeClr>
          </a:solidFill>
          <a:latin typeface="Roboto Light"/>
          <a:ea typeface="+mn-ea"/>
          <a:cs typeface="Roboto Light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>
              <a:lumMod val="50000"/>
              <a:lumOff val="50000"/>
            </a:schemeClr>
          </a:solidFill>
          <a:latin typeface="Roboto Light"/>
          <a:ea typeface="+mn-ea"/>
          <a:cs typeface="Roboto Light"/>
        </a:defRPr>
      </a:lvl5pPr>
      <a:lvl6pPr marL="2514600" indent="-228600" algn="l" defTabSz="914400" rtl="0" eaLnBrk="1" latinLnBrk="0" hangingPunct="1">
        <a:spcBef>
          <a:spcPct val="20000"/>
        </a:spcBef>
        <a:buFont typeface="Courier New" pitchFamily="49" charset="0"/>
        <a:buChar char="o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Courier New" pitchFamily="49" charset="0"/>
        <a:buChar char="o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5.jpeg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png"/><Relationship Id="rId13" Type="http://schemas.openxmlformats.org/officeDocument/2006/relationships/image" Target="../media/image26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20.png"/><Relationship Id="rId12" Type="http://schemas.openxmlformats.org/officeDocument/2006/relationships/image" Target="../media/image25.png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8.emf"/><Relationship Id="rId11" Type="http://schemas.openxmlformats.org/officeDocument/2006/relationships/image" Target="../media/image24.png"/><Relationship Id="rId5" Type="http://schemas.openxmlformats.org/officeDocument/2006/relationships/oleObject" Target="../embeddings/oleObject3.bin"/><Relationship Id="rId10" Type="http://schemas.openxmlformats.org/officeDocument/2006/relationships/image" Target="../media/image23.png"/><Relationship Id="rId4" Type="http://schemas.openxmlformats.org/officeDocument/2006/relationships/notesSlide" Target="../notesSlides/notesSlide5.xml"/><Relationship Id="rId9" Type="http://schemas.openxmlformats.org/officeDocument/2006/relationships/image" Target="../media/image22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emf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8.emf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6" Type="http://schemas.openxmlformats.org/officeDocument/2006/relationships/oleObject" Target="../embeddings/oleObject2.bin"/><Relationship Id="rId11" Type="http://schemas.openxmlformats.org/officeDocument/2006/relationships/image" Target="../media/image31.emf"/><Relationship Id="rId5" Type="http://schemas.openxmlformats.org/officeDocument/2006/relationships/image" Target="../media/image27.emf"/><Relationship Id="rId10" Type="http://schemas.openxmlformats.org/officeDocument/2006/relationships/image" Target="../media/image30.emf"/><Relationship Id="rId4" Type="http://schemas.openxmlformats.org/officeDocument/2006/relationships/notesSlide" Target="../notesSlides/notesSlide6.xml"/><Relationship Id="rId9" Type="http://schemas.openxmlformats.org/officeDocument/2006/relationships/image" Target="../media/image29.emf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3.tiff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32.tiff"/><Relationship Id="rId2" Type="http://schemas.openxmlformats.org/officeDocument/2006/relationships/tags" Target="../tags/tag6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7.xml"/><Relationship Id="rId9" Type="http://schemas.openxmlformats.org/officeDocument/2006/relationships/image" Target="../media/image34.png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8.xml"/><Relationship Id="rId3" Type="http://schemas.openxmlformats.org/officeDocument/2006/relationships/tags" Target="../tags/tag8.xml"/><Relationship Id="rId7" Type="http://schemas.openxmlformats.org/officeDocument/2006/relationships/slideLayout" Target="../slideLayouts/slideLayout2.xml"/><Relationship Id="rId12" Type="http://schemas.openxmlformats.org/officeDocument/2006/relationships/image" Target="../media/image36.png"/><Relationship Id="rId2" Type="http://schemas.openxmlformats.org/officeDocument/2006/relationships/tags" Target="../tags/tag7.xml"/><Relationship Id="rId1" Type="http://schemas.openxmlformats.org/officeDocument/2006/relationships/vmlDrawing" Target="../drawings/vmlDrawing7.vml"/><Relationship Id="rId6" Type="http://schemas.openxmlformats.org/officeDocument/2006/relationships/tags" Target="../tags/tag11.xml"/><Relationship Id="rId11" Type="http://schemas.openxmlformats.org/officeDocument/2006/relationships/image" Target="../media/image35.png"/><Relationship Id="rId5" Type="http://schemas.openxmlformats.org/officeDocument/2006/relationships/tags" Target="../tags/tag10.xml"/><Relationship Id="rId10" Type="http://schemas.openxmlformats.org/officeDocument/2006/relationships/image" Target="../media/image8.emf"/><Relationship Id="rId4" Type="http://schemas.openxmlformats.org/officeDocument/2006/relationships/tags" Target="../tags/tag9.xml"/><Relationship Id="rId9" Type="http://schemas.openxmlformats.org/officeDocument/2006/relationships/oleObject" Target="../embeddings/oleObject4.bin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6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10.xml"/><Relationship Id="rId13" Type="http://schemas.openxmlformats.org/officeDocument/2006/relationships/image" Target="../media/image39.png"/><Relationship Id="rId3" Type="http://schemas.openxmlformats.org/officeDocument/2006/relationships/tags" Target="../tags/tag13.xml"/><Relationship Id="rId7" Type="http://schemas.openxmlformats.org/officeDocument/2006/relationships/slideLayout" Target="../slideLayouts/slideLayout2.xml"/><Relationship Id="rId12" Type="http://schemas.openxmlformats.org/officeDocument/2006/relationships/image" Target="../media/image38.tiff"/><Relationship Id="rId2" Type="http://schemas.openxmlformats.org/officeDocument/2006/relationships/tags" Target="../tags/tag12.xml"/><Relationship Id="rId1" Type="http://schemas.openxmlformats.org/officeDocument/2006/relationships/vmlDrawing" Target="../drawings/vmlDrawing8.vml"/><Relationship Id="rId6" Type="http://schemas.openxmlformats.org/officeDocument/2006/relationships/tags" Target="../tags/tag16.xml"/><Relationship Id="rId11" Type="http://schemas.openxmlformats.org/officeDocument/2006/relationships/image" Target="../media/image35.png"/><Relationship Id="rId5" Type="http://schemas.openxmlformats.org/officeDocument/2006/relationships/tags" Target="../tags/tag15.xml"/><Relationship Id="rId10" Type="http://schemas.openxmlformats.org/officeDocument/2006/relationships/image" Target="../media/image8.emf"/><Relationship Id="rId4" Type="http://schemas.openxmlformats.org/officeDocument/2006/relationships/tags" Target="../tags/tag14.xml"/><Relationship Id="rId9" Type="http://schemas.openxmlformats.org/officeDocument/2006/relationships/oleObject" Target="../embeddings/oleObject4.bin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11.xml"/><Relationship Id="rId13" Type="http://schemas.openxmlformats.org/officeDocument/2006/relationships/image" Target="../media/image41.png"/><Relationship Id="rId3" Type="http://schemas.openxmlformats.org/officeDocument/2006/relationships/tags" Target="../tags/tag18.xml"/><Relationship Id="rId7" Type="http://schemas.openxmlformats.org/officeDocument/2006/relationships/slideLayout" Target="../slideLayouts/slideLayout2.xml"/><Relationship Id="rId12" Type="http://schemas.openxmlformats.org/officeDocument/2006/relationships/image" Target="../media/image40.png"/><Relationship Id="rId2" Type="http://schemas.openxmlformats.org/officeDocument/2006/relationships/tags" Target="../tags/tag17.xml"/><Relationship Id="rId1" Type="http://schemas.openxmlformats.org/officeDocument/2006/relationships/vmlDrawing" Target="../drawings/vmlDrawing9.vml"/><Relationship Id="rId6" Type="http://schemas.openxmlformats.org/officeDocument/2006/relationships/tags" Target="../tags/tag21.xml"/><Relationship Id="rId11" Type="http://schemas.openxmlformats.org/officeDocument/2006/relationships/image" Target="../media/image35.png"/><Relationship Id="rId5" Type="http://schemas.openxmlformats.org/officeDocument/2006/relationships/tags" Target="../tags/tag20.xml"/><Relationship Id="rId10" Type="http://schemas.openxmlformats.org/officeDocument/2006/relationships/image" Target="../media/image8.emf"/><Relationship Id="rId4" Type="http://schemas.openxmlformats.org/officeDocument/2006/relationships/tags" Target="../tags/tag19.xml"/><Relationship Id="rId9" Type="http://schemas.openxmlformats.org/officeDocument/2006/relationships/oleObject" Target="../embeddings/oleObject4.bin"/><Relationship Id="rId14" Type="http://schemas.openxmlformats.org/officeDocument/2006/relationships/image" Target="../media/image42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46.tiff"/><Relationship Id="rId13" Type="http://schemas.openxmlformats.org/officeDocument/2006/relationships/image" Target="../media/image51.tiff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45.tiff"/><Relationship Id="rId12" Type="http://schemas.openxmlformats.org/officeDocument/2006/relationships/image" Target="../media/image50.tiff"/><Relationship Id="rId2" Type="http://schemas.openxmlformats.org/officeDocument/2006/relationships/tags" Target="../tags/tag22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8.emf"/><Relationship Id="rId11" Type="http://schemas.openxmlformats.org/officeDocument/2006/relationships/image" Target="../media/image49.tiff"/><Relationship Id="rId5" Type="http://schemas.openxmlformats.org/officeDocument/2006/relationships/oleObject" Target="../embeddings/oleObject4.bin"/><Relationship Id="rId10" Type="http://schemas.openxmlformats.org/officeDocument/2006/relationships/image" Target="../media/image48.tiff"/><Relationship Id="rId4" Type="http://schemas.openxmlformats.org/officeDocument/2006/relationships/notesSlide" Target="../notesSlides/notesSlide12.xml"/><Relationship Id="rId9" Type="http://schemas.openxmlformats.org/officeDocument/2006/relationships/image" Target="../media/image47.tiff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52.tiff"/><Relationship Id="rId13" Type="http://schemas.openxmlformats.org/officeDocument/2006/relationships/image" Target="../media/image45.tiff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8.emf"/><Relationship Id="rId12" Type="http://schemas.openxmlformats.org/officeDocument/2006/relationships/image" Target="../media/image56.tiff"/><Relationship Id="rId17" Type="http://schemas.openxmlformats.org/officeDocument/2006/relationships/image" Target="../media/image57.tiff"/><Relationship Id="rId2" Type="http://schemas.openxmlformats.org/officeDocument/2006/relationships/tags" Target="../tags/tag23.xml"/><Relationship Id="rId16" Type="http://schemas.openxmlformats.org/officeDocument/2006/relationships/image" Target="../media/image50.tiff"/><Relationship Id="rId1" Type="http://schemas.openxmlformats.org/officeDocument/2006/relationships/vmlDrawing" Target="../drawings/vmlDrawing11.vml"/><Relationship Id="rId6" Type="http://schemas.openxmlformats.org/officeDocument/2006/relationships/oleObject" Target="../embeddings/oleObject4.bin"/><Relationship Id="rId11" Type="http://schemas.openxmlformats.org/officeDocument/2006/relationships/image" Target="../media/image55.tiff"/><Relationship Id="rId5" Type="http://schemas.openxmlformats.org/officeDocument/2006/relationships/image" Target="../media/image51.tiff"/><Relationship Id="rId15" Type="http://schemas.openxmlformats.org/officeDocument/2006/relationships/image" Target="../media/image46.tiff"/><Relationship Id="rId10" Type="http://schemas.openxmlformats.org/officeDocument/2006/relationships/image" Target="../media/image54.tiff"/><Relationship Id="rId4" Type="http://schemas.openxmlformats.org/officeDocument/2006/relationships/notesSlide" Target="../notesSlides/notesSlide13.xml"/><Relationship Id="rId9" Type="http://schemas.openxmlformats.org/officeDocument/2006/relationships/image" Target="../media/image53.tiff"/><Relationship Id="rId14" Type="http://schemas.openxmlformats.org/officeDocument/2006/relationships/image" Target="../media/image48.tiff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14.xml"/><Relationship Id="rId13" Type="http://schemas.openxmlformats.org/officeDocument/2006/relationships/image" Target="../media/image35.png"/><Relationship Id="rId3" Type="http://schemas.openxmlformats.org/officeDocument/2006/relationships/tags" Target="../tags/tag25.xml"/><Relationship Id="rId7" Type="http://schemas.openxmlformats.org/officeDocument/2006/relationships/slideLayout" Target="../slideLayouts/slideLayout2.xml"/><Relationship Id="rId12" Type="http://schemas.openxmlformats.org/officeDocument/2006/relationships/image" Target="../media/image59.png"/><Relationship Id="rId2" Type="http://schemas.openxmlformats.org/officeDocument/2006/relationships/tags" Target="../tags/tag24.xml"/><Relationship Id="rId1" Type="http://schemas.openxmlformats.org/officeDocument/2006/relationships/vmlDrawing" Target="../drawings/vmlDrawing12.vml"/><Relationship Id="rId6" Type="http://schemas.openxmlformats.org/officeDocument/2006/relationships/tags" Target="../tags/tag28.xml"/><Relationship Id="rId11" Type="http://schemas.openxmlformats.org/officeDocument/2006/relationships/image" Target="../media/image58.tiff"/><Relationship Id="rId5" Type="http://schemas.openxmlformats.org/officeDocument/2006/relationships/tags" Target="../tags/tag27.xml"/><Relationship Id="rId10" Type="http://schemas.openxmlformats.org/officeDocument/2006/relationships/image" Target="../media/image8.emf"/><Relationship Id="rId4" Type="http://schemas.openxmlformats.org/officeDocument/2006/relationships/tags" Target="../tags/tag26.xml"/><Relationship Id="rId9" Type="http://schemas.openxmlformats.org/officeDocument/2006/relationships/oleObject" Target="../embeddings/oleObject5.bin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0.tiff"/><Relationship Id="rId13" Type="http://schemas.openxmlformats.org/officeDocument/2006/relationships/image" Target="../media/image65.png"/><Relationship Id="rId3" Type="http://schemas.openxmlformats.org/officeDocument/2006/relationships/tags" Target="../tags/tag30.xml"/><Relationship Id="rId7" Type="http://schemas.openxmlformats.org/officeDocument/2006/relationships/image" Target="../media/image8.emf"/><Relationship Id="rId12" Type="http://schemas.openxmlformats.org/officeDocument/2006/relationships/image" Target="../media/image64.png"/><Relationship Id="rId2" Type="http://schemas.openxmlformats.org/officeDocument/2006/relationships/tags" Target="../tags/tag29.xml"/><Relationship Id="rId16" Type="http://schemas.openxmlformats.org/officeDocument/2006/relationships/image" Target="../media/image68.png"/><Relationship Id="rId1" Type="http://schemas.openxmlformats.org/officeDocument/2006/relationships/vmlDrawing" Target="../drawings/vmlDrawing13.vml"/><Relationship Id="rId6" Type="http://schemas.openxmlformats.org/officeDocument/2006/relationships/oleObject" Target="../embeddings/oleObject6.bin"/><Relationship Id="rId11" Type="http://schemas.openxmlformats.org/officeDocument/2006/relationships/image" Target="../media/image63.tiff"/><Relationship Id="rId5" Type="http://schemas.openxmlformats.org/officeDocument/2006/relationships/notesSlide" Target="../notesSlides/notesSlide15.xml"/><Relationship Id="rId15" Type="http://schemas.openxmlformats.org/officeDocument/2006/relationships/image" Target="../media/image67.png"/><Relationship Id="rId10" Type="http://schemas.openxmlformats.org/officeDocument/2006/relationships/image" Target="../media/image62.png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61.png"/><Relationship Id="rId14" Type="http://schemas.openxmlformats.org/officeDocument/2006/relationships/image" Target="../media/image66.png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60.tiff"/><Relationship Id="rId13" Type="http://schemas.openxmlformats.org/officeDocument/2006/relationships/image" Target="../media/image71.png"/><Relationship Id="rId18" Type="http://schemas.openxmlformats.org/officeDocument/2006/relationships/image" Target="../media/image68.png"/><Relationship Id="rId3" Type="http://schemas.openxmlformats.org/officeDocument/2006/relationships/tags" Target="../tags/tag32.xml"/><Relationship Id="rId7" Type="http://schemas.openxmlformats.org/officeDocument/2006/relationships/image" Target="../media/image8.emf"/><Relationship Id="rId12" Type="http://schemas.openxmlformats.org/officeDocument/2006/relationships/image" Target="../media/image63.tiff"/><Relationship Id="rId17" Type="http://schemas.openxmlformats.org/officeDocument/2006/relationships/image" Target="../media/image72.png"/><Relationship Id="rId2" Type="http://schemas.openxmlformats.org/officeDocument/2006/relationships/tags" Target="../tags/tag31.xml"/><Relationship Id="rId16" Type="http://schemas.openxmlformats.org/officeDocument/2006/relationships/image" Target="../media/image66.png"/><Relationship Id="rId1" Type="http://schemas.openxmlformats.org/officeDocument/2006/relationships/vmlDrawing" Target="../drawings/vmlDrawing14.vml"/><Relationship Id="rId6" Type="http://schemas.openxmlformats.org/officeDocument/2006/relationships/oleObject" Target="../embeddings/oleObject7.bin"/><Relationship Id="rId11" Type="http://schemas.openxmlformats.org/officeDocument/2006/relationships/image" Target="../media/image62.png"/><Relationship Id="rId5" Type="http://schemas.openxmlformats.org/officeDocument/2006/relationships/notesSlide" Target="../notesSlides/notesSlide16.xml"/><Relationship Id="rId15" Type="http://schemas.openxmlformats.org/officeDocument/2006/relationships/image" Target="../media/image65.png"/><Relationship Id="rId10" Type="http://schemas.openxmlformats.org/officeDocument/2006/relationships/image" Target="../media/image70.png"/><Relationship Id="rId19" Type="http://schemas.openxmlformats.org/officeDocument/2006/relationships/image" Target="../media/image73.png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69.png"/><Relationship Id="rId14" Type="http://schemas.openxmlformats.org/officeDocument/2006/relationships/image" Target="../media/image64.png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60.tiff"/><Relationship Id="rId13" Type="http://schemas.openxmlformats.org/officeDocument/2006/relationships/image" Target="../media/image63.tiff"/><Relationship Id="rId18" Type="http://schemas.openxmlformats.org/officeDocument/2006/relationships/image" Target="../media/image72.png"/><Relationship Id="rId3" Type="http://schemas.openxmlformats.org/officeDocument/2006/relationships/tags" Target="../tags/tag34.xml"/><Relationship Id="rId21" Type="http://schemas.openxmlformats.org/officeDocument/2006/relationships/image" Target="../media/image73.png"/><Relationship Id="rId7" Type="http://schemas.openxmlformats.org/officeDocument/2006/relationships/image" Target="../media/image8.emf"/><Relationship Id="rId12" Type="http://schemas.openxmlformats.org/officeDocument/2006/relationships/image" Target="../media/image62.png"/><Relationship Id="rId17" Type="http://schemas.openxmlformats.org/officeDocument/2006/relationships/image" Target="../media/image66.png"/><Relationship Id="rId2" Type="http://schemas.openxmlformats.org/officeDocument/2006/relationships/tags" Target="../tags/tag33.xml"/><Relationship Id="rId16" Type="http://schemas.openxmlformats.org/officeDocument/2006/relationships/image" Target="../media/image65.png"/><Relationship Id="rId20" Type="http://schemas.openxmlformats.org/officeDocument/2006/relationships/image" Target="../media/image76.png"/><Relationship Id="rId1" Type="http://schemas.openxmlformats.org/officeDocument/2006/relationships/vmlDrawing" Target="../drawings/vmlDrawing15.vml"/><Relationship Id="rId6" Type="http://schemas.openxmlformats.org/officeDocument/2006/relationships/oleObject" Target="../embeddings/oleObject8.bin"/><Relationship Id="rId11" Type="http://schemas.openxmlformats.org/officeDocument/2006/relationships/image" Target="../media/image74.png"/><Relationship Id="rId5" Type="http://schemas.openxmlformats.org/officeDocument/2006/relationships/notesSlide" Target="../notesSlides/notesSlide17.xml"/><Relationship Id="rId15" Type="http://schemas.openxmlformats.org/officeDocument/2006/relationships/image" Target="../media/image75.png"/><Relationship Id="rId10" Type="http://schemas.openxmlformats.org/officeDocument/2006/relationships/image" Target="../media/image70.png"/><Relationship Id="rId19" Type="http://schemas.openxmlformats.org/officeDocument/2006/relationships/image" Target="../media/image68.png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69.png"/><Relationship Id="rId14" Type="http://schemas.openxmlformats.org/officeDocument/2006/relationships/image" Target="../media/image71.png"/><Relationship Id="rId22" Type="http://schemas.openxmlformats.org/officeDocument/2006/relationships/image" Target="../media/image77.png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.xml"/><Relationship Id="rId13" Type="http://schemas.openxmlformats.org/officeDocument/2006/relationships/image" Target="../media/image79.png"/><Relationship Id="rId3" Type="http://schemas.openxmlformats.org/officeDocument/2006/relationships/tags" Target="../tags/tag36.xml"/><Relationship Id="rId7" Type="http://schemas.openxmlformats.org/officeDocument/2006/relationships/tags" Target="../tags/tag40.xml"/><Relationship Id="rId12" Type="http://schemas.openxmlformats.org/officeDocument/2006/relationships/image" Target="../media/image78.png"/><Relationship Id="rId17" Type="http://schemas.openxmlformats.org/officeDocument/2006/relationships/image" Target="../media/image83.png"/><Relationship Id="rId2" Type="http://schemas.openxmlformats.org/officeDocument/2006/relationships/tags" Target="../tags/tag35.xml"/><Relationship Id="rId16" Type="http://schemas.openxmlformats.org/officeDocument/2006/relationships/image" Target="../media/image82.png"/><Relationship Id="rId1" Type="http://schemas.openxmlformats.org/officeDocument/2006/relationships/vmlDrawing" Target="../drawings/vmlDrawing16.vml"/><Relationship Id="rId6" Type="http://schemas.openxmlformats.org/officeDocument/2006/relationships/tags" Target="../tags/tag39.xml"/><Relationship Id="rId11" Type="http://schemas.openxmlformats.org/officeDocument/2006/relationships/image" Target="../media/image8.emf"/><Relationship Id="rId5" Type="http://schemas.openxmlformats.org/officeDocument/2006/relationships/tags" Target="../tags/tag38.xml"/><Relationship Id="rId15" Type="http://schemas.openxmlformats.org/officeDocument/2006/relationships/image" Target="../media/image81.png"/><Relationship Id="rId10" Type="http://schemas.openxmlformats.org/officeDocument/2006/relationships/oleObject" Target="../embeddings/oleObject9.bin"/><Relationship Id="rId4" Type="http://schemas.openxmlformats.org/officeDocument/2006/relationships/tags" Target="../tags/tag37.xml"/><Relationship Id="rId9" Type="http://schemas.openxmlformats.org/officeDocument/2006/relationships/notesSlide" Target="../notesSlides/notesSlide18.xml"/><Relationship Id="rId14" Type="http://schemas.openxmlformats.org/officeDocument/2006/relationships/image" Target="../media/image80.png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86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85.png"/><Relationship Id="rId2" Type="http://schemas.openxmlformats.org/officeDocument/2006/relationships/tags" Target="../tags/tag41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84.tiff"/><Relationship Id="rId5" Type="http://schemas.openxmlformats.org/officeDocument/2006/relationships/image" Target="../media/image8.emf"/><Relationship Id="rId4" Type="http://schemas.openxmlformats.org/officeDocument/2006/relationships/oleObject" Target="../embeddings/oleObject10.bin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7.tiff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8.jpe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tiff"/><Relationship Id="rId2" Type="http://schemas.openxmlformats.org/officeDocument/2006/relationships/image" Target="../media/image6.emf"/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8.emf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11" Type="http://schemas.openxmlformats.org/officeDocument/2006/relationships/image" Target="../media/image13.png"/><Relationship Id="rId5" Type="http://schemas.openxmlformats.org/officeDocument/2006/relationships/image" Target="../media/image9.png"/><Relationship Id="rId10" Type="http://schemas.openxmlformats.org/officeDocument/2006/relationships/image" Target="../media/image12.png"/><Relationship Id="rId4" Type="http://schemas.openxmlformats.org/officeDocument/2006/relationships/notesSlide" Target="../notesSlides/notesSlide2.xml"/><Relationship Id="rId9" Type="http://schemas.openxmlformats.org/officeDocument/2006/relationships/image" Target="../media/image11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6.pn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tiff"/><Relationship Id="rId1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tiff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8.tiff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3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5968210" y="4459933"/>
            <a:ext cx="3128150" cy="385215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Title 1"/>
          <p:cNvSpPr txBox="1">
            <a:spLocks/>
          </p:cNvSpPr>
          <p:nvPr/>
        </p:nvSpPr>
        <p:spPr>
          <a:xfrm>
            <a:off x="287486" y="3980527"/>
            <a:ext cx="4699561" cy="672013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ctr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8000" kern="1200">
                <a:solidFill>
                  <a:schemeClr val="tx2"/>
                </a:solidFill>
                <a:effectLst>
                  <a:outerShdw blurRad="63500" dist="38100" dir="5400000" algn="t" rotWithShape="0">
                    <a:prstClr val="black">
                      <a:alpha val="25000"/>
                    </a:prstClr>
                  </a:outerShdw>
                </a:effectLst>
                <a:latin typeface="Roboto Light"/>
                <a:ea typeface="+mj-ea"/>
                <a:cs typeface="Roboto Light"/>
              </a:defRPr>
            </a:lvl1pPr>
          </a:lstStyle>
          <a:p>
            <a:pPr algn="l"/>
            <a:r>
              <a:rPr lang="en-US" sz="2000" dirty="0">
                <a:solidFill>
                  <a:srgbClr val="103259"/>
                </a:solidFill>
                <a:effectLst/>
                <a:latin typeface="Roboto" charset="0"/>
                <a:ea typeface="Roboto" charset="0"/>
                <a:cs typeface="Roboto" charset="0"/>
              </a:rPr>
              <a:t>Tim K. Mackey, PhD – UC San Diego</a:t>
            </a:r>
          </a:p>
          <a:p>
            <a:pPr algn="l"/>
            <a:r>
              <a:rPr lang="en-US" sz="2000" dirty="0">
                <a:solidFill>
                  <a:srgbClr val="103259"/>
                </a:solidFill>
                <a:effectLst/>
                <a:latin typeface="Roboto" charset="0"/>
                <a:ea typeface="Roboto" charset="0"/>
                <a:cs typeface="Roboto" charset="0"/>
              </a:rPr>
              <a:t>Associate Professor, Director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419BAA0B-79B6-1748-A64E-4187EE6EDFE3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56112" cy="771181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444CFEF0-DA80-1E47-A416-6F100CC7DCBC}"/>
              </a:ext>
            </a:extLst>
          </p:cNvPr>
          <p:cNvSpPr/>
          <p:nvPr/>
        </p:nvSpPr>
        <p:spPr>
          <a:xfrm>
            <a:off x="0" y="0"/>
            <a:ext cx="9156112" cy="1021999"/>
          </a:xfrm>
          <a:prstGeom prst="rect">
            <a:avLst/>
          </a:prstGeom>
          <a:solidFill>
            <a:schemeClr val="tx2">
              <a:lumMod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099A12AA-CBDE-B643-8D08-E42C0A0F6B13}"/>
              </a:ext>
            </a:extLst>
          </p:cNvPr>
          <p:cNvSpPr txBox="1"/>
          <p:nvPr/>
        </p:nvSpPr>
        <p:spPr>
          <a:xfrm>
            <a:off x="0" y="27020"/>
            <a:ext cx="915611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800" b="1" dirty="0">
                <a:solidFill>
                  <a:schemeClr val="bg1"/>
                </a:solidFill>
              </a:rPr>
              <a:t>Blockchain Applications for Healthcare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3616D0CD-A6A5-CA45-8231-2DA4BBCA1A50}"/>
              </a:ext>
            </a:extLst>
          </p:cNvPr>
          <p:cNvSpPr txBox="1"/>
          <p:nvPr/>
        </p:nvSpPr>
        <p:spPr>
          <a:xfrm>
            <a:off x="1" y="517057"/>
            <a:ext cx="915611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i="1" dirty="0">
                <a:solidFill>
                  <a:schemeClr val="bg1"/>
                </a:solidFill>
              </a:rPr>
              <a:t>UCSD – Lipscomb Joint Specialized Certificate</a:t>
            </a: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89906F83-459F-E14A-B88F-070545C9385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87486" y="1869548"/>
            <a:ext cx="8180653" cy="1576718"/>
          </a:xfrm>
        </p:spPr>
        <p:txBody>
          <a:bodyPr>
            <a:noAutofit/>
          </a:bodyPr>
          <a:lstStyle/>
          <a:p>
            <a:pPr algn="l"/>
            <a:r>
              <a:rPr lang="en-US" altLang="ja" sz="4800" b="1" dirty="0">
                <a:effectLst/>
              </a:rPr>
              <a:t>L3:  </a:t>
            </a:r>
            <a:r>
              <a:rPr lang="en-US" altLang="ja" sz="4800" dirty="0">
                <a:effectLst/>
              </a:rPr>
              <a:t>Blockchain “Fit-for-Purpose” Framework for Healthcare</a:t>
            </a:r>
            <a:endParaRPr lang="en-US" sz="4800" b="1" dirty="0">
              <a:solidFill>
                <a:schemeClr val="bg2">
                  <a:lumMod val="25000"/>
                </a:schemeClr>
              </a:solidFill>
              <a:latin typeface="Arial Rounded MT Bold" panose="020F0704030504030204" pitchFamily="34" charset="77"/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F3423BD9-861E-BB4E-8369-E068AE1D4A2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898822" y="4034971"/>
            <a:ext cx="2569317" cy="737219"/>
          </a:xfrm>
          <a:prstGeom prst="rect">
            <a:avLst/>
          </a:prstGeom>
        </p:spPr>
      </p:pic>
      <p:pic>
        <p:nvPicPr>
          <p:cNvPr id="15" name="Picture 14" descr="C:\Users\rhoughtaling\Desktop\download (1).png">
            <a:extLst>
              <a:ext uri="{FF2B5EF4-FFF2-40B4-BE49-F238E27FC236}">
                <a16:creationId xmlns:a16="http://schemas.microsoft.com/office/drawing/2014/main" id="{23EFF19E-4FED-AD48-8380-F830D87D588B}"/>
              </a:ext>
            </a:extLst>
          </p:cNvPr>
          <p:cNvPicPr/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30336" y="3393532"/>
            <a:ext cx="1518120" cy="499210"/>
          </a:xfrm>
          <a:prstGeom prst="rect">
            <a:avLst/>
          </a:prstGeom>
          <a:noFill/>
          <a:ln>
            <a:noFill/>
          </a:ln>
        </p:spPr>
      </p:pic>
      <p:pic>
        <p:nvPicPr>
          <p:cNvPr id="18" name="Picture 17" descr="C:\Users\rhoughtaling\Desktop\images.jpg">
            <a:extLst>
              <a:ext uri="{FF2B5EF4-FFF2-40B4-BE49-F238E27FC236}">
                <a16:creationId xmlns:a16="http://schemas.microsoft.com/office/drawing/2014/main" id="{5B0431AC-CA40-C842-B8E8-E27CFCD15383}"/>
              </a:ext>
            </a:extLst>
          </p:cNvPr>
          <p:cNvPicPr/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15421" y="3245490"/>
            <a:ext cx="1526315" cy="707814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97625436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" name="Object 2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49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5" name="Object 2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5"/>
          <p:cNvSpPr txBox="1">
            <a:spLocks noChangeArrowheads="1"/>
          </p:cNvSpPr>
          <p:nvPr/>
        </p:nvSpPr>
        <p:spPr bwMode="gray">
          <a:xfrm>
            <a:off x="291168" y="158109"/>
            <a:ext cx="7548940" cy="45005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rIns="0" anchor="ctr"/>
          <a:lstStyle/>
          <a:p>
            <a:pPr defTabSz="685800" eaLnBrk="0" hangingPunct="0">
              <a:lnSpc>
                <a:spcPct val="95000"/>
              </a:lnSpc>
            </a:pPr>
            <a:r>
              <a:rPr lang="en-US" sz="2800" b="1" dirty="0">
                <a:solidFill>
                  <a:srgbClr val="171717"/>
                </a:solidFill>
                <a:latin typeface="Arial" charset="0"/>
                <a:ea typeface="Arial" charset="0"/>
                <a:cs typeface="Arial" charset="0"/>
              </a:rPr>
              <a:t>Fit-for-Purpose Model</a:t>
            </a:r>
          </a:p>
        </p:txBody>
      </p:sp>
      <p:grpSp>
        <p:nvGrpSpPr>
          <p:cNvPr id="23" name="Group 22">
            <a:extLst>
              <a:ext uri="{FF2B5EF4-FFF2-40B4-BE49-F238E27FC236}">
                <a16:creationId xmlns:a16="http://schemas.microsoft.com/office/drawing/2014/main" id="{01D66BDA-1F8B-7D46-9156-79F7CE77F2AC}"/>
              </a:ext>
            </a:extLst>
          </p:cNvPr>
          <p:cNvGrpSpPr/>
          <p:nvPr/>
        </p:nvGrpSpPr>
        <p:grpSpPr>
          <a:xfrm>
            <a:off x="498125" y="772786"/>
            <a:ext cx="4073875" cy="3527331"/>
            <a:chOff x="565856" y="2047024"/>
            <a:chExt cx="4326674" cy="3698411"/>
          </a:xfrm>
        </p:grpSpPr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30661498-56E6-BE4F-BB7C-D4BF73294022}"/>
                </a:ext>
              </a:extLst>
            </p:cNvPr>
            <p:cNvSpPr/>
            <p:nvPr/>
          </p:nvSpPr>
          <p:spPr>
            <a:xfrm>
              <a:off x="565856" y="2190716"/>
              <a:ext cx="4326674" cy="3554719"/>
            </a:xfrm>
            <a:prstGeom prst="rect">
              <a:avLst/>
            </a:prstGeom>
            <a:noFill/>
            <a:ln w="12700">
              <a:solidFill>
                <a:schemeClr val="accent1"/>
              </a:solidFill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8A59D1C2-23CC-F24A-9FD8-9E78EBE6BAB4}"/>
                </a:ext>
              </a:extLst>
            </p:cNvPr>
            <p:cNvCxnSpPr>
              <a:cxnSpLocks/>
            </p:cNvCxnSpPr>
            <p:nvPr/>
          </p:nvCxnSpPr>
          <p:spPr>
            <a:xfrm>
              <a:off x="565856" y="2193254"/>
              <a:ext cx="4326674" cy="12803"/>
            </a:xfrm>
            <a:prstGeom prst="line">
              <a:avLst/>
            </a:prstGeom>
            <a:ln w="285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F88F01A9-248A-4441-8537-051B283F733A}"/>
                </a:ext>
              </a:extLst>
            </p:cNvPr>
            <p:cNvSpPr txBox="1"/>
            <p:nvPr/>
          </p:nvSpPr>
          <p:spPr>
            <a:xfrm>
              <a:off x="1028247" y="2047024"/>
              <a:ext cx="3326501" cy="364819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pPr algn="ctr"/>
              <a:r>
                <a:rPr lang="en-US" b="1" dirty="0">
                  <a:solidFill>
                    <a:srgbClr val="1B1464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Modular Blockchain Design</a:t>
              </a:r>
            </a:p>
          </p:txBody>
        </p:sp>
        <p:sp>
          <p:nvSpPr>
            <p:cNvPr id="28" name="TextBox 27">
              <a:extLst>
                <a:ext uri="{FF2B5EF4-FFF2-40B4-BE49-F238E27FC236}">
                  <a16:creationId xmlns:a16="http://schemas.microsoft.com/office/drawing/2014/main" id="{26755D16-0CEE-A84E-B683-DA654D66E7B8}"/>
                </a:ext>
              </a:extLst>
            </p:cNvPr>
            <p:cNvSpPr txBox="1"/>
            <p:nvPr/>
          </p:nvSpPr>
          <p:spPr>
            <a:xfrm>
              <a:off x="730012" y="2440003"/>
              <a:ext cx="4054331" cy="292868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243834" indent="-243834" defTabSz="1219170">
                <a:spcAft>
                  <a:spcPts val="800"/>
                </a:spcAft>
                <a:buFont typeface="Wingdings" panose="05000000000000000000" pitchFamily="2" charset="2"/>
                <a:buChar char="§"/>
              </a:pPr>
              <a:r>
                <a:rPr lang="en-US" b="1" dirty="0">
                  <a:latin typeface="Segoe UI" panose="020B0502040204020203" pitchFamily="34" charset="0"/>
                </a:rPr>
                <a:t>Article:  </a:t>
              </a:r>
              <a:r>
                <a:rPr lang="en-US" dirty="0">
                  <a:latin typeface="Segoe UI" panose="020B0502040204020203" pitchFamily="34" charset="0"/>
                </a:rPr>
                <a:t>Specific to healthcare use cases but can be applied to other industries and comparative analysis </a:t>
              </a:r>
            </a:p>
            <a:p>
              <a:pPr marL="243834" indent="-243834" defTabSz="1219170">
                <a:spcAft>
                  <a:spcPts val="800"/>
                </a:spcAft>
                <a:buFont typeface="Wingdings" panose="05000000000000000000" pitchFamily="2" charset="2"/>
                <a:buChar char="§"/>
              </a:pPr>
              <a:r>
                <a:rPr lang="en-US" b="1" dirty="0">
                  <a:latin typeface="Segoe UI" panose="020B0502040204020203" pitchFamily="34" charset="0"/>
                </a:rPr>
                <a:t>Fit-for-Purpose Concept: </a:t>
              </a:r>
              <a:r>
                <a:rPr lang="en-US" dirty="0">
                  <a:latin typeface="Segoe UI" panose="020B0502040204020203" pitchFamily="34" charset="0"/>
                </a:rPr>
                <a:t> Focuses on “modular” or “component” design for blockchain focusing on design types, data sharing and access, governance, technology layers, and ultimate goal of blockchain</a:t>
              </a:r>
            </a:p>
          </p:txBody>
        </p:sp>
      </p:grpSp>
      <p:pic>
        <p:nvPicPr>
          <p:cNvPr id="2" name="Picture 1">
            <a:extLst>
              <a:ext uri="{FF2B5EF4-FFF2-40B4-BE49-F238E27FC236}">
                <a16:creationId xmlns:a16="http://schemas.microsoft.com/office/drawing/2014/main" id="{C972729D-7D77-5645-8721-8CEDB05048EA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078363" y="262504"/>
            <a:ext cx="3724314" cy="4880996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62F4F0BB-3019-C94C-936B-9313CC81C10B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40325" y="4231333"/>
            <a:ext cx="681832" cy="779236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5E63DD65-180C-DD46-99D4-C38E74470613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281775" y="4241734"/>
            <a:ext cx="574769" cy="758435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22DEA879-A6E9-6145-89F4-591803749593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1921387" y="4232589"/>
            <a:ext cx="640831" cy="758436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1873DBC6-E3C3-B44A-B55B-7CCAF9E8474A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2622951" y="4242465"/>
            <a:ext cx="679089" cy="757704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E16D6209-1587-2A46-A9BB-86CA9F633A80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3336539" y="4230076"/>
            <a:ext cx="591772" cy="781749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DFD97D6E-4F40-7544-87B0-F25D2D2E8A7D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3999953" y="4241308"/>
            <a:ext cx="545352" cy="7817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539872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26FDF417-DE84-1F4E-BC8B-0D5210514D3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14847" y="4132273"/>
            <a:ext cx="7132421" cy="560285"/>
          </a:xfrm>
          <a:prstGeom prst="rect">
            <a:avLst/>
          </a:prstGeom>
        </p:spPr>
      </p:pic>
      <p:graphicFrame>
        <p:nvGraphicFramePr>
          <p:cNvPr id="25" name="Object 2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697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25" name="Object 24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Rectangle 5">
            <a:extLst>
              <a:ext uri="{FF2B5EF4-FFF2-40B4-BE49-F238E27FC236}">
                <a16:creationId xmlns:a16="http://schemas.microsoft.com/office/drawing/2014/main" id="{4C5520C6-AC0E-F74F-BA70-840FD8E2EBA7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214847" y="196677"/>
            <a:ext cx="6934098" cy="45005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rIns="0" anchor="ctr"/>
          <a:lstStyle/>
          <a:p>
            <a:pPr defTabSz="685800" eaLnBrk="0" hangingPunct="0">
              <a:lnSpc>
                <a:spcPct val="95000"/>
              </a:lnSpc>
            </a:pPr>
            <a:r>
              <a:rPr lang="en-US" sz="2800" b="1" dirty="0">
                <a:solidFill>
                  <a:srgbClr val="171717"/>
                </a:solidFill>
                <a:latin typeface="Arial" charset="0"/>
                <a:ea typeface="Arial" charset="0"/>
                <a:cs typeface="Arial" charset="0"/>
              </a:rPr>
              <a:t>Blockchain Architecture and Modularity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4B2A83A4-61E5-6946-9A25-0E0D313A7611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03830" y="1402327"/>
            <a:ext cx="7153154" cy="1920200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5A4BB07B-E580-C14A-A01C-70E8AABCDAC9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214847" y="3027474"/>
            <a:ext cx="7132421" cy="1225034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9682BDCC-CF9D-A04A-8C7C-5AA140C5718C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203830" y="794600"/>
            <a:ext cx="7153154" cy="710530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BC1BDC79-93D5-304D-A6CA-6D638A23BD8C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7398316" y="794600"/>
            <a:ext cx="1477392" cy="38939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29955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2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2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7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" name="Object 2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45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5" name="Object 2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4"/>
          <p:cNvSpPr>
            <a:spLocks noChangeArrowheads="1"/>
          </p:cNvSpPr>
          <p:nvPr/>
        </p:nvSpPr>
        <p:spPr bwMode="gray">
          <a:xfrm>
            <a:off x="135911" y="570517"/>
            <a:ext cx="5357709" cy="26908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defTabSz="601266"/>
            <a:r>
              <a:rPr lang="en-US" sz="1600" dirty="0">
                <a:solidFill>
                  <a:srgbClr val="171717"/>
                </a:solidFill>
                <a:latin typeface="Arial" charset="0"/>
                <a:ea typeface="Arial" charset="0"/>
                <a:cs typeface="Arial" charset="0"/>
              </a:rPr>
              <a:t>Fit-for-purpose framework design elements</a:t>
            </a:r>
          </a:p>
          <a:p>
            <a:pPr defTabSz="601266"/>
            <a:endParaRPr lang="en-US" dirty="0">
              <a:solidFill>
                <a:srgbClr val="171717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13" name="Rectangle 5"/>
          <p:cNvSpPr txBox="1">
            <a:spLocks noChangeArrowheads="1"/>
          </p:cNvSpPr>
          <p:nvPr/>
        </p:nvSpPr>
        <p:spPr bwMode="gray">
          <a:xfrm>
            <a:off x="135911" y="41556"/>
            <a:ext cx="5967071" cy="45005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rIns="0" anchor="ctr"/>
          <a:lstStyle/>
          <a:p>
            <a:pPr defTabSz="685800" eaLnBrk="0" hangingPunct="0">
              <a:lnSpc>
                <a:spcPct val="95000"/>
              </a:lnSpc>
            </a:pPr>
            <a:r>
              <a:rPr lang="en-US" sz="2800" b="1" dirty="0">
                <a:solidFill>
                  <a:srgbClr val="171717"/>
                </a:solidFill>
                <a:latin typeface="Arial" charset="0"/>
                <a:ea typeface="Arial" charset="0"/>
                <a:cs typeface="Arial" charset="0"/>
              </a:rPr>
              <a:t>Design for “Health” Blockchain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CE15CC3F-D594-A346-8EA0-65C11D032EC7}"/>
              </a:ext>
            </a:extLst>
          </p:cNvPr>
          <p:cNvSpPr/>
          <p:nvPr/>
        </p:nvSpPr>
        <p:spPr>
          <a:xfrm>
            <a:off x="965122" y="958842"/>
            <a:ext cx="2657475" cy="1806575"/>
          </a:xfrm>
          <a:prstGeom prst="rect">
            <a:avLst/>
          </a:prstGeom>
          <a:solidFill>
            <a:schemeClr val="bg1">
              <a:lumMod val="85000"/>
              <a:alpha val="49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9pPr>
          </a:lstStyle>
          <a:p>
            <a:pPr algn="ctr" eaLnBrk="1" hangingPunct="1"/>
            <a:endParaRPr lang="en-US" altLang="en-US">
              <a:solidFill>
                <a:srgbClr val="FFFFFF"/>
              </a:solidFill>
              <a:latin typeface="Arial"/>
              <a:cs typeface="Arial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6AD02AF9-7B5F-F446-BBDE-139FE56C51F9}"/>
              </a:ext>
            </a:extLst>
          </p:cNvPr>
          <p:cNvSpPr txBox="1"/>
          <p:nvPr/>
        </p:nvSpPr>
        <p:spPr>
          <a:xfrm>
            <a:off x="1092122" y="1098542"/>
            <a:ext cx="2424113" cy="1508105"/>
          </a:xfrm>
          <a:prstGeom prst="rect">
            <a:avLst/>
          </a:prstGeom>
          <a:noFill/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9pPr>
          </a:lstStyle>
          <a:p>
            <a:pPr eaLnBrk="1" hangingPunct="1"/>
            <a:r>
              <a:rPr lang="en-US" altLang="en-US" sz="1500" b="1" dirty="0">
                <a:solidFill>
                  <a:srgbClr val="17375E"/>
                </a:solidFill>
                <a:latin typeface="Arial"/>
                <a:cs typeface="Arial"/>
              </a:rPr>
              <a:t>1. Design Type</a:t>
            </a:r>
          </a:p>
          <a:p>
            <a:pPr eaLnBrk="1" hangingPunct="1"/>
            <a:endParaRPr lang="en-US" altLang="en-US" sz="1100" dirty="0">
              <a:solidFill>
                <a:srgbClr val="17375E"/>
              </a:solidFill>
              <a:latin typeface="Arial"/>
              <a:cs typeface="Arial"/>
            </a:endParaRPr>
          </a:p>
          <a:p>
            <a:pPr eaLnBrk="1" hangingPunct="1"/>
            <a:r>
              <a:rPr lang="en-US" altLang="en-US" sz="1100" dirty="0">
                <a:solidFill>
                  <a:srgbClr val="17375E"/>
                </a:solidFill>
                <a:latin typeface="Arial"/>
                <a:cs typeface="Arial"/>
              </a:rPr>
              <a:t>Decide whether your blockchain will be a public (permission-less), private, or hybrid blockchain.  These design characteristics should map to your healthcare challenge and your users and peers.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EB20E684-75DA-B34F-9977-496EEEE565EE}"/>
              </a:ext>
            </a:extLst>
          </p:cNvPr>
          <p:cNvSpPr/>
          <p:nvPr/>
        </p:nvSpPr>
        <p:spPr>
          <a:xfrm>
            <a:off x="965122" y="2765417"/>
            <a:ext cx="2657475" cy="1806575"/>
          </a:xfrm>
          <a:prstGeom prst="rect">
            <a:avLst/>
          </a:prstGeom>
          <a:solidFill>
            <a:schemeClr val="bg1">
              <a:lumMod val="50000"/>
              <a:alpha val="49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9pPr>
          </a:lstStyle>
          <a:p>
            <a:pPr algn="ctr" eaLnBrk="1" hangingPunct="1"/>
            <a:endParaRPr lang="en-US" altLang="en-US">
              <a:solidFill>
                <a:srgbClr val="FFFFFF"/>
              </a:solidFill>
              <a:latin typeface="Arial"/>
              <a:cs typeface="Arial"/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7572DCCE-631C-574F-8A0E-EC558A71E3C3}"/>
              </a:ext>
            </a:extLst>
          </p:cNvPr>
          <p:cNvSpPr txBox="1"/>
          <p:nvPr/>
        </p:nvSpPr>
        <p:spPr>
          <a:xfrm>
            <a:off x="1124226" y="2830013"/>
            <a:ext cx="2424113" cy="1677382"/>
          </a:xfrm>
          <a:prstGeom prst="rect">
            <a:avLst/>
          </a:prstGeom>
          <a:noFill/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9pPr>
          </a:lstStyle>
          <a:p>
            <a:pPr eaLnBrk="1" hangingPunct="1"/>
            <a:r>
              <a:rPr lang="en-US" altLang="en-US" sz="1500" b="1" dirty="0">
                <a:solidFill>
                  <a:srgbClr val="17375E"/>
                </a:solidFill>
                <a:latin typeface="Arial"/>
                <a:cs typeface="Arial"/>
              </a:rPr>
              <a:t>3. Governance</a:t>
            </a:r>
          </a:p>
          <a:p>
            <a:pPr eaLnBrk="1" hangingPunct="1"/>
            <a:endParaRPr lang="en-US" altLang="en-US" sz="1100" dirty="0">
              <a:solidFill>
                <a:srgbClr val="17375E"/>
              </a:solidFill>
              <a:latin typeface="Arial"/>
              <a:cs typeface="Arial"/>
            </a:endParaRPr>
          </a:p>
          <a:p>
            <a:pPr eaLnBrk="1" hangingPunct="1"/>
            <a:r>
              <a:rPr lang="en-US" altLang="en-US" sz="1100" dirty="0">
                <a:solidFill>
                  <a:srgbClr val="17375E"/>
                </a:solidFill>
                <a:latin typeface="Arial"/>
                <a:cs typeface="Arial"/>
              </a:rPr>
              <a:t>Who will be users and nodes of your blockchain?  Do you want only select partners, consortium (a group of selected partners), regulators, and/or the public to be users, peers, and/or validators?  Is this a patient-centric or process-centric </a:t>
            </a:r>
            <a:r>
              <a:rPr lang="en-US" altLang="en-US" sz="1100" dirty="0" err="1">
                <a:solidFill>
                  <a:srgbClr val="17375E"/>
                </a:solidFill>
                <a:latin typeface="Arial"/>
                <a:cs typeface="Arial"/>
              </a:rPr>
              <a:t>bc</a:t>
            </a:r>
            <a:r>
              <a:rPr lang="en-US" altLang="en-US" sz="1100" dirty="0">
                <a:solidFill>
                  <a:srgbClr val="17375E"/>
                </a:solidFill>
                <a:latin typeface="Arial"/>
                <a:cs typeface="Arial"/>
              </a:rPr>
              <a:t>?</a:t>
            </a:r>
          </a:p>
        </p:txBody>
      </p: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835EE2A5-5063-274B-9BEF-4A0742CB9574}"/>
              </a:ext>
            </a:extLst>
          </p:cNvPr>
          <p:cNvCxnSpPr/>
          <p:nvPr/>
        </p:nvCxnSpPr>
        <p:spPr>
          <a:xfrm>
            <a:off x="3726277" y="1862130"/>
            <a:ext cx="417513" cy="454025"/>
          </a:xfrm>
          <a:prstGeom prst="line">
            <a:avLst/>
          </a:prstGeom>
          <a:ln w="3175" cmpd="sng">
            <a:solidFill>
              <a:schemeClr val="bg1">
                <a:lumMod val="65000"/>
              </a:schemeClr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BCBE8662-C9CA-8149-9299-68AAF559305F}"/>
              </a:ext>
            </a:extLst>
          </p:cNvPr>
          <p:cNvCxnSpPr/>
          <p:nvPr/>
        </p:nvCxnSpPr>
        <p:spPr>
          <a:xfrm flipV="1">
            <a:off x="3726277" y="3168642"/>
            <a:ext cx="417513" cy="500063"/>
          </a:xfrm>
          <a:prstGeom prst="line">
            <a:avLst/>
          </a:prstGeom>
          <a:ln w="3175" cmpd="sng">
            <a:solidFill>
              <a:schemeClr val="bg1">
                <a:lumMod val="65000"/>
              </a:schemeClr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9" name="Rectangle 28">
            <a:extLst>
              <a:ext uri="{FF2B5EF4-FFF2-40B4-BE49-F238E27FC236}">
                <a16:creationId xmlns:a16="http://schemas.microsoft.com/office/drawing/2014/main" id="{5086DC40-B54D-E444-976B-229A329D7516}"/>
              </a:ext>
            </a:extLst>
          </p:cNvPr>
          <p:cNvSpPr/>
          <p:nvPr/>
        </p:nvSpPr>
        <p:spPr>
          <a:xfrm flipH="1">
            <a:off x="5656285" y="944555"/>
            <a:ext cx="2657475" cy="1806575"/>
          </a:xfrm>
          <a:prstGeom prst="rect">
            <a:avLst/>
          </a:prstGeom>
          <a:solidFill>
            <a:schemeClr val="bg1">
              <a:lumMod val="85000"/>
              <a:alpha val="49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9pPr>
          </a:lstStyle>
          <a:p>
            <a:pPr algn="ctr" eaLnBrk="1" hangingPunct="1"/>
            <a:endParaRPr lang="en-US" altLang="en-US">
              <a:solidFill>
                <a:srgbClr val="FFFFFF"/>
              </a:solidFill>
              <a:latin typeface="Arial"/>
              <a:cs typeface="Arial"/>
            </a:endParaRP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3A400BC6-5BD7-F142-9CF0-173A98C2CB91}"/>
              </a:ext>
            </a:extLst>
          </p:cNvPr>
          <p:cNvSpPr txBox="1"/>
          <p:nvPr/>
        </p:nvSpPr>
        <p:spPr>
          <a:xfrm flipH="1">
            <a:off x="5762646" y="1084255"/>
            <a:ext cx="2530475" cy="1508105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9pPr>
          </a:lstStyle>
          <a:p>
            <a:pPr eaLnBrk="1" hangingPunct="1"/>
            <a:r>
              <a:rPr lang="en-US" altLang="en-US" sz="1500" b="1" dirty="0">
                <a:solidFill>
                  <a:srgbClr val="17375E"/>
                </a:solidFill>
                <a:latin typeface="Arial"/>
                <a:cs typeface="Arial"/>
              </a:rPr>
              <a:t>2. Data Sharing?</a:t>
            </a:r>
          </a:p>
          <a:p>
            <a:pPr eaLnBrk="1" hangingPunct="1"/>
            <a:endParaRPr lang="en-US" altLang="en-US" sz="1100" dirty="0">
              <a:solidFill>
                <a:srgbClr val="17375E"/>
              </a:solidFill>
              <a:latin typeface="Arial"/>
              <a:cs typeface="Arial"/>
            </a:endParaRPr>
          </a:p>
          <a:p>
            <a:pPr eaLnBrk="1" hangingPunct="1"/>
            <a:r>
              <a:rPr lang="en-US" altLang="en-US" sz="1100" dirty="0">
                <a:solidFill>
                  <a:srgbClr val="17375E"/>
                </a:solidFill>
                <a:latin typeface="Arial"/>
                <a:cs typeface="Arial"/>
              </a:rPr>
              <a:t>What levels of permission (if any) do you need for data that may be part of the blockchain.  Will you store it off-chain, on-chain?  What regulatory and legal considerations might lead you to assess data governance.</a:t>
            </a: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3766C4BA-84F6-1049-B4EB-6BDFCABD7F82}"/>
              </a:ext>
            </a:extLst>
          </p:cNvPr>
          <p:cNvSpPr/>
          <p:nvPr/>
        </p:nvSpPr>
        <p:spPr>
          <a:xfrm flipH="1">
            <a:off x="5656285" y="2751130"/>
            <a:ext cx="2657475" cy="1806575"/>
          </a:xfrm>
          <a:prstGeom prst="rect">
            <a:avLst/>
          </a:prstGeom>
          <a:solidFill>
            <a:schemeClr val="bg1">
              <a:lumMod val="50000"/>
              <a:alpha val="49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9pPr>
          </a:lstStyle>
          <a:p>
            <a:pPr algn="ctr" eaLnBrk="1" hangingPunct="1"/>
            <a:endParaRPr lang="en-US" altLang="en-US">
              <a:solidFill>
                <a:srgbClr val="FFFFFF"/>
              </a:solidFill>
              <a:latin typeface="Arial"/>
              <a:cs typeface="Arial"/>
            </a:endParaRP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7F9045EC-2570-B44B-B1B1-6769F143D33A}"/>
              </a:ext>
            </a:extLst>
          </p:cNvPr>
          <p:cNvSpPr txBox="1"/>
          <p:nvPr/>
        </p:nvSpPr>
        <p:spPr>
          <a:xfrm flipH="1">
            <a:off x="5772965" y="2821395"/>
            <a:ext cx="2424113" cy="1677382"/>
          </a:xfrm>
          <a:prstGeom prst="rect">
            <a:avLst/>
          </a:prstGeom>
          <a:noFill/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9pPr>
          </a:lstStyle>
          <a:p>
            <a:pPr eaLnBrk="1" hangingPunct="1"/>
            <a:r>
              <a:rPr lang="en-US" altLang="en-US" sz="1500" b="1" dirty="0">
                <a:solidFill>
                  <a:srgbClr val="C00000"/>
                </a:solidFill>
                <a:latin typeface="Arial"/>
                <a:cs typeface="Arial"/>
              </a:rPr>
              <a:t>X. Ultimate Goal</a:t>
            </a:r>
          </a:p>
          <a:p>
            <a:pPr eaLnBrk="1" hangingPunct="1"/>
            <a:endParaRPr lang="en-US" altLang="en-US" sz="1100" dirty="0">
              <a:solidFill>
                <a:srgbClr val="17375E"/>
              </a:solidFill>
              <a:latin typeface="Arial"/>
              <a:cs typeface="Arial"/>
            </a:endParaRPr>
          </a:p>
          <a:p>
            <a:pPr eaLnBrk="1" hangingPunct="1"/>
            <a:r>
              <a:rPr lang="en-US" altLang="en-US" sz="1100" dirty="0">
                <a:solidFill>
                  <a:srgbClr val="C00000"/>
                </a:solidFill>
                <a:latin typeface="Arial"/>
                <a:cs typeface="Arial"/>
              </a:rPr>
              <a:t>What is your ultimate goal for your blockchain solution, to improve a healthcare process, to enhance safety and quality, incentivize data sharing, drive revenue, ensure better compliance?  Do you need a </a:t>
            </a:r>
            <a:r>
              <a:rPr lang="en-US" altLang="en-US" sz="1100" b="1" dirty="0">
                <a:solidFill>
                  <a:srgbClr val="C00000"/>
                </a:solidFill>
                <a:latin typeface="Arial"/>
                <a:cs typeface="Arial"/>
              </a:rPr>
              <a:t>token </a:t>
            </a:r>
            <a:r>
              <a:rPr lang="en-US" altLang="en-US" sz="1100" dirty="0">
                <a:solidFill>
                  <a:srgbClr val="C00000"/>
                </a:solidFill>
                <a:latin typeface="Arial"/>
                <a:cs typeface="Arial"/>
              </a:rPr>
              <a:t>to</a:t>
            </a:r>
            <a:r>
              <a:rPr lang="en-US" altLang="en-US" sz="1100" b="1" dirty="0">
                <a:solidFill>
                  <a:srgbClr val="C00000"/>
                </a:solidFill>
                <a:latin typeface="Arial"/>
                <a:cs typeface="Arial"/>
              </a:rPr>
              <a:t> </a:t>
            </a:r>
            <a:r>
              <a:rPr lang="en-US" altLang="en-US" sz="1100" dirty="0">
                <a:solidFill>
                  <a:srgbClr val="C00000"/>
                </a:solidFill>
                <a:latin typeface="Arial"/>
                <a:cs typeface="Arial"/>
              </a:rPr>
              <a:t>incentivize participation?</a:t>
            </a:r>
          </a:p>
        </p:txBody>
      </p: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40B02769-740A-6447-8EEA-DBEA5661674C}"/>
              </a:ext>
            </a:extLst>
          </p:cNvPr>
          <p:cNvCxnSpPr/>
          <p:nvPr/>
        </p:nvCxnSpPr>
        <p:spPr>
          <a:xfrm flipH="1">
            <a:off x="5126452" y="1847842"/>
            <a:ext cx="417513" cy="454025"/>
          </a:xfrm>
          <a:prstGeom prst="line">
            <a:avLst/>
          </a:prstGeom>
          <a:ln w="3175" cmpd="sng">
            <a:solidFill>
              <a:schemeClr val="bg1">
                <a:lumMod val="65000"/>
              </a:schemeClr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3B4A3FF0-8AD1-134C-811A-DF1353410122}"/>
              </a:ext>
            </a:extLst>
          </p:cNvPr>
          <p:cNvCxnSpPr/>
          <p:nvPr/>
        </p:nvCxnSpPr>
        <p:spPr>
          <a:xfrm flipH="1" flipV="1">
            <a:off x="5126452" y="3154355"/>
            <a:ext cx="417513" cy="500062"/>
          </a:xfrm>
          <a:prstGeom prst="line">
            <a:avLst/>
          </a:prstGeom>
          <a:ln w="3175" cmpd="sng">
            <a:solidFill>
              <a:schemeClr val="bg1">
                <a:lumMod val="65000"/>
              </a:schemeClr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6" name="Oval 35">
            <a:extLst>
              <a:ext uri="{FF2B5EF4-FFF2-40B4-BE49-F238E27FC236}">
                <a16:creationId xmlns:a16="http://schemas.microsoft.com/office/drawing/2014/main" id="{2C7C59FD-6DC6-854E-800A-F107C68F08AD}"/>
              </a:ext>
            </a:extLst>
          </p:cNvPr>
          <p:cNvSpPr/>
          <p:nvPr/>
        </p:nvSpPr>
        <p:spPr>
          <a:xfrm>
            <a:off x="2205161" y="670256"/>
            <a:ext cx="4840941" cy="4249270"/>
          </a:xfrm>
          <a:prstGeom prst="ellipse">
            <a:avLst/>
          </a:prstGeom>
          <a:solidFill>
            <a:schemeClr val="accent1">
              <a:alpha val="1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0ABFB9D5-FD4C-864D-A4E3-9927D3DAE110}"/>
              </a:ext>
            </a:extLst>
          </p:cNvPr>
          <p:cNvSpPr txBox="1"/>
          <p:nvPr/>
        </p:nvSpPr>
        <p:spPr>
          <a:xfrm>
            <a:off x="3622597" y="3937209"/>
            <a:ext cx="2027730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b="1" dirty="0">
                <a:latin typeface="Arial" panose="020B0604020202020204" pitchFamily="34" charset="0"/>
                <a:cs typeface="Arial" panose="020B0604020202020204" pitchFamily="34" charset="0"/>
              </a:rPr>
              <a:t>What data &amp; design elements are needed to solve the challenge?</a:t>
            </a:r>
          </a:p>
        </p:txBody>
      </p:sp>
      <p:pic>
        <p:nvPicPr>
          <p:cNvPr id="38" name="Picture 37">
            <a:extLst>
              <a:ext uri="{FF2B5EF4-FFF2-40B4-BE49-F238E27FC236}">
                <a16:creationId xmlns:a16="http://schemas.microsoft.com/office/drawing/2014/main" id="{E5D527C5-4CA1-3A4F-8290-9AC24536E79D}"/>
              </a:ext>
            </a:extLst>
          </p:cNvPr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36390" y="3502845"/>
            <a:ext cx="412191" cy="412191"/>
          </a:xfrm>
          <a:prstGeom prst="rect">
            <a:avLst/>
          </a:prstGeom>
        </p:spPr>
      </p:pic>
      <p:sp>
        <p:nvSpPr>
          <p:cNvPr id="39" name="TextBox 38">
            <a:extLst>
              <a:ext uri="{FF2B5EF4-FFF2-40B4-BE49-F238E27FC236}">
                <a16:creationId xmlns:a16="http://schemas.microsoft.com/office/drawing/2014/main" id="{9EB0AD61-8F71-2744-AA95-267A56F5F28A}"/>
              </a:ext>
            </a:extLst>
          </p:cNvPr>
          <p:cNvSpPr txBox="1"/>
          <p:nvPr/>
        </p:nvSpPr>
        <p:spPr>
          <a:xfrm>
            <a:off x="3643235" y="697533"/>
            <a:ext cx="2027730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b="1" dirty="0">
                <a:latin typeface="Arial" panose="020B0604020202020204" pitchFamily="34" charset="0"/>
                <a:cs typeface="Arial" panose="020B0604020202020204" pitchFamily="34" charset="0"/>
              </a:rPr>
              <a:t>Who is your community and how will they govern the </a:t>
            </a:r>
            <a:r>
              <a:rPr lang="en-US" sz="1400" b="1" dirty="0" err="1">
                <a:latin typeface="Arial" panose="020B0604020202020204" pitchFamily="34" charset="0"/>
                <a:cs typeface="Arial" panose="020B0604020202020204" pitchFamily="34" charset="0"/>
              </a:rPr>
              <a:t>bc</a:t>
            </a:r>
            <a:r>
              <a:rPr lang="en-US" sz="1400" b="1" dirty="0">
                <a:latin typeface="Arial" panose="020B0604020202020204" pitchFamily="34" charset="0"/>
                <a:cs typeface="Arial" panose="020B0604020202020204" pitchFamily="34" charset="0"/>
              </a:rPr>
              <a:t>?</a:t>
            </a:r>
          </a:p>
        </p:txBody>
      </p:sp>
      <p:pic>
        <p:nvPicPr>
          <p:cNvPr id="40" name="Picture 39">
            <a:extLst>
              <a:ext uri="{FF2B5EF4-FFF2-40B4-BE49-F238E27FC236}">
                <a16:creationId xmlns:a16="http://schemas.microsoft.com/office/drawing/2014/main" id="{8B3EEA63-D1AD-AC49-BB9C-B8F14DDFA8F3}"/>
              </a:ext>
            </a:extLst>
          </p:cNvPr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39866" y="1714415"/>
            <a:ext cx="571532" cy="571532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77BF19C6-CCD4-7346-9E89-4E80892ABB35}"/>
              </a:ext>
            </a:extLst>
          </p:cNvPr>
          <p:cNvPicPr>
            <a:picLocks noChangeAspect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28952" y="2399705"/>
            <a:ext cx="1201182" cy="7784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33567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1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4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9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2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6" grpId="0" animBg="1"/>
      <p:bldP spid="37" grpId="0"/>
      <p:bldP spid="39" grpId="0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691BAFC-84B8-1843-96F2-262F7023D87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1676400"/>
            <a:ext cx="9144000" cy="1790700"/>
          </a:xfrm>
        </p:spPr>
        <p:txBody>
          <a:bodyPr>
            <a:normAutofit/>
          </a:bodyPr>
          <a:lstStyle/>
          <a:p>
            <a:r>
              <a:rPr lang="en-US" sz="5400" b="1" dirty="0">
                <a:latin typeface="Avenir Next" panose="020B0503020202020204" pitchFamily="34" charset="0"/>
              </a:rPr>
              <a:t>Mapping to Blockchain Healthcare Use Cases</a:t>
            </a:r>
          </a:p>
        </p:txBody>
      </p:sp>
    </p:spTree>
    <p:extLst>
      <p:ext uri="{BB962C8B-B14F-4D97-AF65-F5344CB8AC3E}">
        <p14:creationId xmlns:p14="http://schemas.microsoft.com/office/powerpoint/2010/main" val="204528641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" name="Object 2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17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25" name="Object 24" hidden="1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>
            <a:extLst>
              <a:ext uri="{FF2B5EF4-FFF2-40B4-BE49-F238E27FC236}">
                <a16:creationId xmlns:a16="http://schemas.microsoft.com/office/drawing/2014/main" id="{08CA63D6-91D3-D64C-A79A-F23218FAEE62}"/>
              </a:ext>
            </a:extLst>
          </p:cNvPr>
          <p:cNvSpPr/>
          <p:nvPr/>
        </p:nvSpPr>
        <p:spPr>
          <a:xfrm>
            <a:off x="4579380" y="3635502"/>
            <a:ext cx="4481962" cy="1192246"/>
          </a:xfrm>
          <a:prstGeom prst="rect">
            <a:avLst/>
          </a:prstGeom>
          <a:solidFill>
            <a:srgbClr val="19B5F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1CC6B4E3-144B-0F4B-B4D9-1828B207E3ED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5873074" y="3692306"/>
            <a:ext cx="3082834" cy="1092607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r>
              <a:rPr lang="en-US" sz="1300" b="1" dirty="0">
                <a:solidFill>
                  <a:schemeClr val="bg1"/>
                </a:solidFill>
                <a:latin typeface="Calibri Light" pitchFamily="34" charset="0"/>
              </a:rPr>
              <a:t>Additional meta-data in BC clinical trial attributes could help create shared patient databases for future participation and enable better sharing of trial results with subjects.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AF6DA3F3-F5D1-5347-ADB2-EC2995AFFBE8}"/>
              </a:ext>
            </a:extLst>
          </p:cNvPr>
          <p:cNvSpPr/>
          <p:nvPr/>
        </p:nvSpPr>
        <p:spPr>
          <a:xfrm>
            <a:off x="4573327" y="1031527"/>
            <a:ext cx="4485369" cy="813362"/>
          </a:xfrm>
          <a:prstGeom prst="rect">
            <a:avLst/>
          </a:prstGeom>
          <a:ln w="12700"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E2A6C5D7-FE7F-FE40-842E-A7FDDD81F8C0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4672676" y="1069251"/>
            <a:ext cx="4471324" cy="738664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r>
              <a:rPr lang="en-US" sz="1400" b="1" dirty="0">
                <a:latin typeface="Calibri Light" pitchFamily="34" charset="0"/>
              </a:rPr>
              <a:t>Problem:  </a:t>
            </a:r>
            <a:r>
              <a:rPr lang="en-US" sz="1400" dirty="0">
                <a:latin typeface="Calibri Light" pitchFamily="34" charset="0"/>
              </a:rPr>
              <a:t>Clinical trials recruitment is expensive and time consuming.  Study data should be verifiable and also follow study protocol and data sharing plan to support outcomes</a:t>
            </a:r>
            <a:endParaRPr lang="en-US" sz="1050" b="1" dirty="0">
              <a:solidFill>
                <a:schemeClr val="bg1"/>
              </a:solidFill>
              <a:latin typeface="Calibri Light" pitchFamily="34" charset="0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5E5DA9D2-A853-B04F-B3DA-F564416985A3}"/>
              </a:ext>
            </a:extLst>
          </p:cNvPr>
          <p:cNvSpPr/>
          <p:nvPr/>
        </p:nvSpPr>
        <p:spPr>
          <a:xfrm>
            <a:off x="4573327" y="1888228"/>
            <a:ext cx="4485369" cy="813362"/>
          </a:xfrm>
          <a:prstGeom prst="rect">
            <a:avLst/>
          </a:prstGeom>
          <a:ln w="12700"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37BA5700-D2E7-CC40-980B-36788A5FE1C6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4672676" y="1926671"/>
            <a:ext cx="4382613" cy="738664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r>
              <a:rPr lang="en-US" sz="1400" b="1" dirty="0">
                <a:latin typeface="Calibri Light" pitchFamily="34" charset="0"/>
              </a:rPr>
              <a:t>Why </a:t>
            </a:r>
            <a:r>
              <a:rPr lang="en-US" sz="1400" b="1" dirty="0" err="1">
                <a:latin typeface="Calibri Light" pitchFamily="34" charset="0"/>
              </a:rPr>
              <a:t>Blockchain</a:t>
            </a:r>
            <a:r>
              <a:rPr lang="en-US" sz="1400" b="1" dirty="0">
                <a:latin typeface="Calibri Light" pitchFamily="34" charset="0"/>
              </a:rPr>
              <a:t>?:  </a:t>
            </a:r>
            <a:r>
              <a:rPr lang="en-US" sz="1400" dirty="0">
                <a:latin typeface="Calibri Light" pitchFamily="34" charset="0"/>
              </a:rPr>
              <a:t>Can enable patient matching and monitoring (e.g. matching with EHRs), can validate data, can incentivize patient participation, enable e-consent </a:t>
            </a:r>
            <a:endParaRPr lang="en-US" sz="1050" b="1" dirty="0">
              <a:solidFill>
                <a:schemeClr val="bg1"/>
              </a:solidFill>
              <a:latin typeface="Calibri Light" pitchFamily="34" charset="0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009D0B22-13CD-BE45-8D0B-C5DDBA525AC8}"/>
              </a:ext>
            </a:extLst>
          </p:cNvPr>
          <p:cNvSpPr/>
          <p:nvPr/>
        </p:nvSpPr>
        <p:spPr>
          <a:xfrm>
            <a:off x="4569920" y="2754443"/>
            <a:ext cx="4485369" cy="813362"/>
          </a:xfrm>
          <a:prstGeom prst="rect">
            <a:avLst/>
          </a:prstGeom>
          <a:ln w="12700"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E5595C54-49EB-7048-A769-F02B07D52F4C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4670262" y="2790505"/>
            <a:ext cx="4382613" cy="738664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r>
              <a:rPr lang="en-US" sz="1400" b="1" dirty="0">
                <a:latin typeface="Calibri Light" pitchFamily="34" charset="0"/>
              </a:rPr>
              <a:t>Design?:  </a:t>
            </a:r>
            <a:r>
              <a:rPr lang="en-US" sz="1400" dirty="0">
                <a:latin typeface="Calibri Light" pitchFamily="34" charset="0"/>
              </a:rPr>
              <a:t>Clinical trial BC can adopt hybrid design with public (enrollment) and private (clinical trial protocol) components.  Smart contracts can enable trial steps.</a:t>
            </a:r>
            <a:endParaRPr lang="en-US" sz="1050" b="1" dirty="0">
              <a:solidFill>
                <a:schemeClr val="bg1"/>
              </a:solidFill>
              <a:latin typeface="Calibri Light" pitchFamily="34" charset="0"/>
            </a:endParaRPr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2CC23BFF-23AD-DD4B-9D26-B55F3D855912}"/>
              </a:ext>
            </a:extLst>
          </p:cNvPr>
          <p:cNvPicPr>
            <a:picLocks noChangeAspect="1"/>
          </p:cNvPicPr>
          <p:nvPr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21381" y="3782365"/>
            <a:ext cx="906569" cy="906569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D00D7AD3-EB49-3047-9ACF-48B69D208B81}"/>
              </a:ext>
            </a:extLst>
          </p:cNvPr>
          <p:cNvPicPr>
            <a:picLocks noChangeAspect="1"/>
          </p:cNvPicPr>
          <p:nvPr/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192" y="993819"/>
            <a:ext cx="4473946" cy="3749141"/>
          </a:xfrm>
          <a:prstGeom prst="rect">
            <a:avLst/>
          </a:prstGeom>
        </p:spPr>
      </p:pic>
      <p:sp>
        <p:nvSpPr>
          <p:cNvPr id="16" name="Title 1">
            <a:extLst>
              <a:ext uri="{FF2B5EF4-FFF2-40B4-BE49-F238E27FC236}">
                <a16:creationId xmlns:a16="http://schemas.microsoft.com/office/drawing/2014/main" id="{4D05A978-8383-2A40-A419-8F9DF812373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-194353" y="303714"/>
            <a:ext cx="4719491" cy="603250"/>
          </a:xfrm>
        </p:spPr>
        <p:txBody>
          <a:bodyPr/>
          <a:lstStyle/>
          <a:p>
            <a:r>
              <a:rPr lang="en-US" dirty="0">
                <a:solidFill>
                  <a:schemeClr val="bg2">
                    <a:lumMod val="25000"/>
                  </a:schemeClr>
                </a:solidFill>
              </a:rPr>
              <a:t>Clinical Trials</a:t>
            </a:r>
          </a:p>
        </p:txBody>
      </p:sp>
    </p:spTree>
    <p:extLst>
      <p:ext uri="{BB962C8B-B14F-4D97-AF65-F5344CB8AC3E}">
        <p14:creationId xmlns:p14="http://schemas.microsoft.com/office/powerpoint/2010/main" val="35780211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/>
          <p:nvPr/>
        </p:nvSpPr>
        <p:spPr>
          <a:xfrm>
            <a:off x="-8334" y="276820"/>
            <a:ext cx="9143999" cy="92333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9525" algn="ctr"/>
            <a:r>
              <a:rPr sz="3000" b="1" spc="-19" dirty="0">
                <a:latin typeface="Arial"/>
                <a:cs typeface="Arial"/>
              </a:rPr>
              <a:t>Architecture</a:t>
            </a:r>
            <a:r>
              <a:rPr sz="3000" b="1" spc="11" dirty="0">
                <a:latin typeface="Arial"/>
                <a:cs typeface="Arial"/>
              </a:rPr>
              <a:t> </a:t>
            </a:r>
            <a:r>
              <a:rPr sz="3000" b="1" spc="-15" dirty="0">
                <a:latin typeface="Arial"/>
                <a:cs typeface="Arial"/>
              </a:rPr>
              <a:t>for</a:t>
            </a:r>
            <a:r>
              <a:rPr sz="3000" b="1" spc="-4" dirty="0">
                <a:latin typeface="Arial"/>
                <a:cs typeface="Arial"/>
              </a:rPr>
              <a:t> </a:t>
            </a:r>
            <a:r>
              <a:rPr sz="3000" b="1" spc="-19" dirty="0" err="1">
                <a:latin typeface="Arial"/>
                <a:cs typeface="Arial"/>
              </a:rPr>
              <a:t>Block</a:t>
            </a:r>
            <a:r>
              <a:rPr lang="en-US" sz="3000" b="1" spc="-19" dirty="0" err="1">
                <a:latin typeface="Arial"/>
                <a:cs typeface="Arial"/>
              </a:rPr>
              <a:t>c</a:t>
            </a:r>
            <a:r>
              <a:rPr sz="3000" b="1" spc="-19" dirty="0" err="1">
                <a:latin typeface="Arial"/>
                <a:cs typeface="Arial"/>
              </a:rPr>
              <a:t>h</a:t>
            </a:r>
            <a:r>
              <a:rPr sz="3000" b="1" spc="-15" dirty="0" err="1">
                <a:latin typeface="Arial"/>
                <a:cs typeface="Arial"/>
              </a:rPr>
              <a:t>ain</a:t>
            </a:r>
            <a:endParaRPr lang="en-US" sz="3000" b="1" spc="-113" dirty="0">
              <a:latin typeface="Arial"/>
              <a:cs typeface="Arial"/>
            </a:endParaRPr>
          </a:p>
          <a:p>
            <a:pPr marL="9525" algn="ctr"/>
            <a:r>
              <a:rPr sz="3000" b="1" spc="-19" dirty="0">
                <a:latin typeface="Arial"/>
                <a:cs typeface="Arial"/>
              </a:rPr>
              <a:t>Applications</a:t>
            </a:r>
            <a:r>
              <a:rPr lang="en-US" sz="3000" b="1" spc="-19" dirty="0">
                <a:latin typeface="Arial"/>
                <a:cs typeface="Arial"/>
              </a:rPr>
              <a:t> for Pharma (</a:t>
            </a:r>
            <a:r>
              <a:rPr lang="en-US" sz="3000" b="1" spc="-19" dirty="0" err="1">
                <a:latin typeface="Arial"/>
                <a:cs typeface="Arial"/>
              </a:rPr>
              <a:t>Gummadi</a:t>
            </a:r>
            <a:r>
              <a:rPr lang="en-US" sz="3000" b="1" spc="-19" dirty="0">
                <a:latin typeface="Arial"/>
                <a:cs typeface="Arial"/>
              </a:rPr>
              <a:t>)</a:t>
            </a:r>
            <a:endParaRPr sz="3000" dirty="0">
              <a:latin typeface="Arial"/>
              <a:cs typeface="Arial"/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26237" y="1371600"/>
            <a:ext cx="6874859" cy="3469481"/>
          </a:xfrm>
          <a:prstGeom prst="rect">
            <a:avLst/>
          </a:prstGeom>
        </p:spPr>
      </p:pic>
      <p:sp>
        <p:nvSpPr>
          <p:cNvPr id="5" name="object 7"/>
          <p:cNvSpPr/>
          <p:nvPr/>
        </p:nvSpPr>
        <p:spPr>
          <a:xfrm>
            <a:off x="0" y="1371600"/>
            <a:ext cx="1126236" cy="3469481"/>
          </a:xfrm>
          <a:custGeom>
            <a:avLst/>
            <a:gdLst/>
            <a:ahLst/>
            <a:cxnLst/>
            <a:rect l="l" t="t" r="r" b="b"/>
            <a:pathLst>
              <a:path w="1008379" h="3430270">
                <a:moveTo>
                  <a:pt x="0" y="3430016"/>
                </a:moveTo>
                <a:lnTo>
                  <a:pt x="1007871" y="3430016"/>
                </a:lnTo>
                <a:lnTo>
                  <a:pt x="1007871" y="0"/>
                </a:lnTo>
                <a:lnTo>
                  <a:pt x="0" y="0"/>
                </a:lnTo>
                <a:lnTo>
                  <a:pt x="0" y="3430016"/>
                </a:lnTo>
              </a:path>
            </a:pathLst>
          </a:custGeom>
          <a:solidFill>
            <a:schemeClr val="accent3"/>
          </a:solidFill>
        </p:spPr>
        <p:txBody>
          <a:bodyPr wrap="square" lIns="0" tIns="0" rIns="0" bIns="0" rtlCol="0"/>
          <a:lstStyle/>
          <a:p>
            <a:endParaRPr sz="1350"/>
          </a:p>
        </p:txBody>
      </p:sp>
      <p:sp>
        <p:nvSpPr>
          <p:cNvPr id="6" name="object 7"/>
          <p:cNvSpPr/>
          <p:nvPr/>
        </p:nvSpPr>
        <p:spPr>
          <a:xfrm>
            <a:off x="8001095" y="1371600"/>
            <a:ext cx="1156844" cy="3469481"/>
          </a:xfrm>
          <a:custGeom>
            <a:avLst/>
            <a:gdLst/>
            <a:ahLst/>
            <a:cxnLst/>
            <a:rect l="l" t="t" r="r" b="b"/>
            <a:pathLst>
              <a:path w="1008379" h="3430270">
                <a:moveTo>
                  <a:pt x="0" y="3430016"/>
                </a:moveTo>
                <a:lnTo>
                  <a:pt x="1007871" y="3430016"/>
                </a:lnTo>
                <a:lnTo>
                  <a:pt x="1007871" y="0"/>
                </a:lnTo>
                <a:lnTo>
                  <a:pt x="0" y="0"/>
                </a:lnTo>
                <a:lnTo>
                  <a:pt x="0" y="3430016"/>
                </a:lnTo>
              </a:path>
            </a:pathLst>
          </a:custGeom>
          <a:solidFill>
            <a:schemeClr val="accent3"/>
          </a:solidFill>
        </p:spPr>
        <p:txBody>
          <a:bodyPr wrap="square" lIns="0" tIns="0" rIns="0" bIns="0" rtlCol="0"/>
          <a:lstStyle/>
          <a:p>
            <a:endParaRPr sz="1350"/>
          </a:p>
        </p:txBody>
      </p:sp>
    </p:spTree>
    <p:extLst>
      <p:ext uri="{BB962C8B-B14F-4D97-AF65-F5344CB8AC3E}">
        <p14:creationId xmlns:p14="http://schemas.microsoft.com/office/powerpoint/2010/main" val="2996433186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" name="Object 2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13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25" name="Object 24" hidden="1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>
            <a:extLst>
              <a:ext uri="{FF2B5EF4-FFF2-40B4-BE49-F238E27FC236}">
                <a16:creationId xmlns:a16="http://schemas.microsoft.com/office/drawing/2014/main" id="{08CA63D6-91D3-D64C-A79A-F23218FAEE62}"/>
              </a:ext>
            </a:extLst>
          </p:cNvPr>
          <p:cNvSpPr/>
          <p:nvPr/>
        </p:nvSpPr>
        <p:spPr>
          <a:xfrm>
            <a:off x="4579380" y="3704325"/>
            <a:ext cx="4481962" cy="1282925"/>
          </a:xfrm>
          <a:prstGeom prst="rect">
            <a:avLst/>
          </a:prstGeom>
          <a:solidFill>
            <a:srgbClr val="19B5F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1CC6B4E3-144B-0F4B-B4D9-1828B207E3ED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5873074" y="3790627"/>
            <a:ext cx="3082834" cy="1092607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r>
              <a:rPr lang="en-US" sz="1300" b="1" dirty="0">
                <a:solidFill>
                  <a:schemeClr val="bg1"/>
                </a:solidFill>
                <a:latin typeface="Calibri Light" pitchFamily="34" charset="0"/>
              </a:rPr>
              <a:t>Meta-data collected from multiple medical devices in a BC could better enable complete digital health identify and better ensure continuity of care.  Data could also better verify AEs and non-compliance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AF6DA3F3-F5D1-5347-ADB2-EC2995AFFBE8}"/>
              </a:ext>
            </a:extLst>
          </p:cNvPr>
          <p:cNvSpPr/>
          <p:nvPr/>
        </p:nvSpPr>
        <p:spPr>
          <a:xfrm>
            <a:off x="4573327" y="1100351"/>
            <a:ext cx="4485369" cy="813362"/>
          </a:xfrm>
          <a:prstGeom prst="rect">
            <a:avLst/>
          </a:prstGeom>
          <a:ln w="12700"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E2A6C5D7-FE7F-FE40-842E-A7FDDD81F8C0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4672676" y="1138075"/>
            <a:ext cx="4471324" cy="738664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r>
              <a:rPr lang="en-US" sz="1400" b="1" dirty="0">
                <a:latin typeface="Calibri Light" pitchFamily="34" charset="0"/>
              </a:rPr>
              <a:t>Problem:  </a:t>
            </a:r>
            <a:r>
              <a:rPr lang="en-US" sz="1400" dirty="0">
                <a:latin typeface="Calibri Light" pitchFamily="34" charset="0"/>
              </a:rPr>
              <a:t>Medical devices are becoming increasing enabled by wireless technology and reliant on health informatics for enhanced clinical </a:t>
            </a:r>
            <a:r>
              <a:rPr lang="en-US" sz="1400" dirty="0" err="1">
                <a:latin typeface="Calibri Light" pitchFamily="34" charset="0"/>
              </a:rPr>
              <a:t>decisionmaking</a:t>
            </a:r>
            <a:r>
              <a:rPr lang="en-US" sz="1400" dirty="0">
                <a:latin typeface="Calibri Light" pitchFamily="34" charset="0"/>
              </a:rPr>
              <a:t>. Security is key concern.</a:t>
            </a:r>
            <a:endParaRPr lang="en-US" sz="1050" b="1" dirty="0">
              <a:solidFill>
                <a:schemeClr val="bg1"/>
              </a:solidFill>
              <a:latin typeface="Calibri Light" pitchFamily="34" charset="0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5E5DA9D2-A853-B04F-B3DA-F564416985A3}"/>
              </a:ext>
            </a:extLst>
          </p:cNvPr>
          <p:cNvSpPr/>
          <p:nvPr/>
        </p:nvSpPr>
        <p:spPr>
          <a:xfrm>
            <a:off x="4573327" y="1957052"/>
            <a:ext cx="4485369" cy="813362"/>
          </a:xfrm>
          <a:prstGeom prst="rect">
            <a:avLst/>
          </a:prstGeom>
          <a:ln w="12700"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37BA5700-D2E7-CC40-980B-36788A5FE1C6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4672676" y="1995495"/>
            <a:ext cx="4382613" cy="738664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r>
              <a:rPr lang="en-US" sz="1400" b="1" dirty="0">
                <a:latin typeface="Calibri Light" pitchFamily="34" charset="0"/>
              </a:rPr>
              <a:t>Why </a:t>
            </a:r>
            <a:r>
              <a:rPr lang="en-US" sz="1400" b="1" dirty="0" err="1">
                <a:latin typeface="Calibri Light" pitchFamily="34" charset="0"/>
              </a:rPr>
              <a:t>Blockchain</a:t>
            </a:r>
            <a:r>
              <a:rPr lang="en-US" sz="1400" b="1" dirty="0">
                <a:latin typeface="Calibri Light" pitchFamily="34" charset="0"/>
              </a:rPr>
              <a:t>?:  </a:t>
            </a:r>
            <a:r>
              <a:rPr lang="en-US" sz="1400" dirty="0">
                <a:latin typeface="Calibri Light" pitchFamily="34" charset="0"/>
              </a:rPr>
              <a:t>Further enable devices beyond </a:t>
            </a:r>
            <a:r>
              <a:rPr lang="en-US" sz="1400" dirty="0" err="1">
                <a:latin typeface="Calibri Light" pitchFamily="34" charset="0"/>
              </a:rPr>
              <a:t>IoT</a:t>
            </a:r>
            <a:r>
              <a:rPr lang="en-US" sz="1400" dirty="0">
                <a:latin typeface="Calibri Light" pitchFamily="34" charset="0"/>
              </a:rPr>
              <a:t> to allow smart contracts for maintenance, can ensure tamper proof medical device logs, better validate insurance claims</a:t>
            </a:r>
            <a:endParaRPr lang="en-US" sz="1050" b="1" dirty="0">
              <a:solidFill>
                <a:schemeClr val="bg1"/>
              </a:solidFill>
              <a:latin typeface="Calibri Light" pitchFamily="34" charset="0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009D0B22-13CD-BE45-8D0B-C5DDBA525AC8}"/>
              </a:ext>
            </a:extLst>
          </p:cNvPr>
          <p:cNvSpPr/>
          <p:nvPr/>
        </p:nvSpPr>
        <p:spPr>
          <a:xfrm>
            <a:off x="4569920" y="2823267"/>
            <a:ext cx="4485369" cy="813362"/>
          </a:xfrm>
          <a:prstGeom prst="rect">
            <a:avLst/>
          </a:prstGeom>
          <a:ln w="12700"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E5595C54-49EB-7048-A769-F02B07D52F4C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4670262" y="2859329"/>
            <a:ext cx="4382613" cy="738664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r>
              <a:rPr lang="en-US" sz="1400" b="1" dirty="0">
                <a:latin typeface="Calibri Light" pitchFamily="34" charset="0"/>
              </a:rPr>
              <a:t>Design?:  </a:t>
            </a:r>
            <a:r>
              <a:rPr lang="en-US" sz="1400" dirty="0">
                <a:latin typeface="Calibri Light" pitchFamily="34" charset="0"/>
              </a:rPr>
              <a:t>Many models envision some interaction with patient/end use, so hybrid (public and private) might be the most common approach.</a:t>
            </a:r>
            <a:endParaRPr lang="en-US" sz="1050" b="1" dirty="0">
              <a:solidFill>
                <a:schemeClr val="bg1"/>
              </a:solidFill>
              <a:latin typeface="Calibri Light" pitchFamily="34" charset="0"/>
            </a:endParaRPr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2CC23BFF-23AD-DD4B-9D26-B55F3D855912}"/>
              </a:ext>
            </a:extLst>
          </p:cNvPr>
          <p:cNvPicPr>
            <a:picLocks noChangeAspect="1"/>
          </p:cNvPicPr>
          <p:nvPr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21381" y="3851189"/>
            <a:ext cx="906569" cy="906569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59F99625-3077-9B42-8F8A-FA6A382A39E1}"/>
              </a:ext>
            </a:extLst>
          </p:cNvPr>
          <p:cNvPicPr>
            <a:picLocks noChangeAspect="1"/>
          </p:cNvPicPr>
          <p:nvPr/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036" y="1100351"/>
            <a:ext cx="4414450" cy="3156150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7D613BBE-18C3-104F-9F06-4992322DE33D}"/>
              </a:ext>
            </a:extLst>
          </p:cNvPr>
          <p:cNvPicPr>
            <a:picLocks noChangeAspect="1"/>
          </p:cNvPicPr>
          <p:nvPr/>
        </p:nvPicPr>
        <p:blipFill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957116" y="4307434"/>
            <a:ext cx="1501263" cy="679817"/>
          </a:xfrm>
          <a:prstGeom prst="rect">
            <a:avLst/>
          </a:prstGeom>
        </p:spPr>
      </p:pic>
      <p:sp>
        <p:nvSpPr>
          <p:cNvPr id="20" name="Title 1">
            <a:extLst>
              <a:ext uri="{FF2B5EF4-FFF2-40B4-BE49-F238E27FC236}">
                <a16:creationId xmlns:a16="http://schemas.microsoft.com/office/drawing/2014/main" id="{C14A711D-D38B-1B47-8D4F-6DAD2A77282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-194353" y="303714"/>
            <a:ext cx="5394150" cy="603250"/>
          </a:xfrm>
        </p:spPr>
        <p:txBody>
          <a:bodyPr/>
          <a:lstStyle/>
          <a:p>
            <a:r>
              <a:rPr lang="en-US" dirty="0">
                <a:solidFill>
                  <a:schemeClr val="bg2">
                    <a:lumMod val="25000"/>
                  </a:schemeClr>
                </a:solidFill>
              </a:rPr>
              <a:t>Medical Device</a:t>
            </a:r>
          </a:p>
        </p:txBody>
      </p:sp>
    </p:spTree>
    <p:extLst>
      <p:ext uri="{BB962C8B-B14F-4D97-AF65-F5344CB8AC3E}">
        <p14:creationId xmlns:p14="http://schemas.microsoft.com/office/powerpoint/2010/main" val="11047021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" name="Object 2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61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25" name="Object 24" hidden="1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>
            <a:extLst>
              <a:ext uri="{FF2B5EF4-FFF2-40B4-BE49-F238E27FC236}">
                <a16:creationId xmlns:a16="http://schemas.microsoft.com/office/drawing/2014/main" id="{08CA63D6-91D3-D64C-A79A-F23218FAEE62}"/>
              </a:ext>
            </a:extLst>
          </p:cNvPr>
          <p:cNvSpPr/>
          <p:nvPr/>
        </p:nvSpPr>
        <p:spPr>
          <a:xfrm>
            <a:off x="4540052" y="3606006"/>
            <a:ext cx="4481962" cy="1192246"/>
          </a:xfrm>
          <a:prstGeom prst="rect">
            <a:avLst/>
          </a:prstGeom>
          <a:solidFill>
            <a:srgbClr val="19B5F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1CC6B4E3-144B-0F4B-B4D9-1828B207E3ED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5833746" y="3662810"/>
            <a:ext cx="3082834" cy="1092607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r>
              <a:rPr lang="en-US" sz="1300" b="1" dirty="0">
                <a:solidFill>
                  <a:schemeClr val="bg1"/>
                </a:solidFill>
                <a:latin typeface="Calibri Light" pitchFamily="34" charset="0"/>
              </a:rPr>
              <a:t>Genomic data in the </a:t>
            </a:r>
            <a:r>
              <a:rPr lang="en-US" sz="1300" b="1" dirty="0" err="1">
                <a:solidFill>
                  <a:schemeClr val="bg1"/>
                </a:solidFill>
                <a:latin typeface="Calibri Light" pitchFamily="34" charset="0"/>
              </a:rPr>
              <a:t>blockchain</a:t>
            </a:r>
            <a:r>
              <a:rPr lang="en-US" sz="1300" b="1" dirty="0">
                <a:solidFill>
                  <a:schemeClr val="bg1"/>
                </a:solidFill>
                <a:latin typeface="Calibri Light" pitchFamily="34" charset="0"/>
              </a:rPr>
              <a:t> could be one attribute of many.  For example, PMI (“All of Us”), collects environmental, lifestyle, and biologic data that can be added to genomic data in a </a:t>
            </a:r>
            <a:r>
              <a:rPr lang="en-US" sz="1300" b="1" dirty="0" err="1">
                <a:solidFill>
                  <a:schemeClr val="bg1"/>
                </a:solidFill>
                <a:latin typeface="Calibri Light" pitchFamily="34" charset="0"/>
              </a:rPr>
              <a:t>bc</a:t>
            </a:r>
            <a:r>
              <a:rPr lang="en-US" sz="1300" b="1" dirty="0">
                <a:solidFill>
                  <a:schemeClr val="bg1"/>
                </a:solidFill>
                <a:latin typeface="Calibri Light" pitchFamily="34" charset="0"/>
              </a:rPr>
              <a:t> </a:t>
            </a:r>
            <a:r>
              <a:rPr lang="en-US" sz="1300" b="1" dirty="0" err="1">
                <a:solidFill>
                  <a:schemeClr val="bg1"/>
                </a:solidFill>
                <a:latin typeface="Calibri Light" pitchFamily="34" charset="0"/>
              </a:rPr>
              <a:t>enviornment</a:t>
            </a:r>
            <a:endParaRPr lang="en-US" sz="1300" b="1" dirty="0">
              <a:solidFill>
                <a:schemeClr val="bg1"/>
              </a:solidFill>
              <a:latin typeface="Calibri Light" pitchFamily="34" charset="0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AF6DA3F3-F5D1-5347-ADB2-EC2995AFFBE8}"/>
              </a:ext>
            </a:extLst>
          </p:cNvPr>
          <p:cNvSpPr/>
          <p:nvPr/>
        </p:nvSpPr>
        <p:spPr>
          <a:xfrm>
            <a:off x="4533999" y="1002031"/>
            <a:ext cx="4485369" cy="813362"/>
          </a:xfrm>
          <a:prstGeom prst="rect">
            <a:avLst/>
          </a:prstGeom>
          <a:ln w="12700"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E2A6C5D7-FE7F-FE40-842E-A7FDDD81F8C0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4633348" y="1039755"/>
            <a:ext cx="4471324" cy="738664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r>
              <a:rPr lang="en-US" sz="1400" b="1" dirty="0">
                <a:latin typeface="Calibri Light" pitchFamily="34" charset="0"/>
              </a:rPr>
              <a:t>Problem:  </a:t>
            </a:r>
            <a:r>
              <a:rPr lang="en-US" sz="1400" dirty="0">
                <a:latin typeface="Calibri Light" pitchFamily="34" charset="0"/>
              </a:rPr>
              <a:t>The field of genomics and precision medicine is rapidly expanding along with the ability to generate large volumes of sequencing data (including DTC sequencing).</a:t>
            </a:r>
            <a:endParaRPr lang="en-US" sz="1050" b="1" dirty="0">
              <a:solidFill>
                <a:schemeClr val="bg1"/>
              </a:solidFill>
              <a:latin typeface="Calibri Light" pitchFamily="34" charset="0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5E5DA9D2-A853-B04F-B3DA-F564416985A3}"/>
              </a:ext>
            </a:extLst>
          </p:cNvPr>
          <p:cNvSpPr/>
          <p:nvPr/>
        </p:nvSpPr>
        <p:spPr>
          <a:xfrm>
            <a:off x="4533999" y="1858732"/>
            <a:ext cx="4485369" cy="813362"/>
          </a:xfrm>
          <a:prstGeom prst="rect">
            <a:avLst/>
          </a:prstGeom>
          <a:ln w="12700"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37BA5700-D2E7-CC40-980B-36788A5FE1C6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4633348" y="1897175"/>
            <a:ext cx="4382613" cy="738664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r>
              <a:rPr lang="en-US" sz="1400" b="1" dirty="0">
                <a:latin typeface="Calibri Light" pitchFamily="34" charset="0"/>
              </a:rPr>
              <a:t>Why </a:t>
            </a:r>
            <a:r>
              <a:rPr lang="en-US" sz="1400" b="1" dirty="0" err="1">
                <a:latin typeface="Calibri Light" pitchFamily="34" charset="0"/>
              </a:rPr>
              <a:t>Blockchain</a:t>
            </a:r>
            <a:r>
              <a:rPr lang="en-US" sz="1400" b="1" dirty="0">
                <a:latin typeface="Calibri Light" pitchFamily="34" charset="0"/>
              </a:rPr>
              <a:t>?:  </a:t>
            </a:r>
            <a:r>
              <a:rPr lang="en-US" sz="1400" dirty="0">
                <a:latin typeface="Calibri Light" pitchFamily="34" charset="0"/>
              </a:rPr>
              <a:t>Verification of disparate sources of genomic data w/out centralization that could enable greater sharing for research, drug dev, pop health analysis.</a:t>
            </a:r>
            <a:endParaRPr lang="en-US" sz="1050" b="1" dirty="0">
              <a:solidFill>
                <a:schemeClr val="bg1"/>
              </a:solidFill>
              <a:latin typeface="Calibri Light" pitchFamily="34" charset="0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009D0B22-13CD-BE45-8D0B-C5DDBA525AC8}"/>
              </a:ext>
            </a:extLst>
          </p:cNvPr>
          <p:cNvSpPr/>
          <p:nvPr/>
        </p:nvSpPr>
        <p:spPr>
          <a:xfrm>
            <a:off x="4530592" y="2724947"/>
            <a:ext cx="4485369" cy="813362"/>
          </a:xfrm>
          <a:prstGeom prst="rect">
            <a:avLst/>
          </a:prstGeom>
          <a:ln w="12700"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E5595C54-49EB-7048-A769-F02B07D52F4C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4630934" y="2761009"/>
            <a:ext cx="4382613" cy="738664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r>
              <a:rPr lang="en-US" sz="1400" b="1" dirty="0">
                <a:latin typeface="Calibri Light" pitchFamily="34" charset="0"/>
              </a:rPr>
              <a:t>Design?:  </a:t>
            </a:r>
            <a:r>
              <a:rPr lang="en-US" sz="1400" dirty="0">
                <a:latin typeface="Calibri Light" pitchFamily="34" charset="0"/>
              </a:rPr>
              <a:t>Several companies in the genomic BC space focus on public models that use tokens to encourage sharing of genomic data.  Privacy and security key issues. </a:t>
            </a:r>
            <a:endParaRPr lang="en-US" sz="1050" b="1" dirty="0">
              <a:solidFill>
                <a:schemeClr val="bg1"/>
              </a:solidFill>
              <a:latin typeface="Calibri Light" pitchFamily="34" charset="0"/>
            </a:endParaRPr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2CC23BFF-23AD-DD4B-9D26-B55F3D855912}"/>
              </a:ext>
            </a:extLst>
          </p:cNvPr>
          <p:cNvPicPr>
            <a:picLocks noChangeAspect="1"/>
          </p:cNvPicPr>
          <p:nvPr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82053" y="3752869"/>
            <a:ext cx="906569" cy="906569"/>
          </a:xfrm>
          <a:prstGeom prst="rect">
            <a:avLst/>
          </a:prstGeom>
        </p:spPr>
      </p:pic>
      <p:sp>
        <p:nvSpPr>
          <p:cNvPr id="23" name="Title 1">
            <a:extLst>
              <a:ext uri="{FF2B5EF4-FFF2-40B4-BE49-F238E27FC236}">
                <a16:creationId xmlns:a16="http://schemas.microsoft.com/office/drawing/2014/main" id="{DFE9D53D-6B34-0E46-A3CB-1E210A8ED4F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-194353" y="303714"/>
            <a:ext cx="4108151" cy="603250"/>
          </a:xfrm>
        </p:spPr>
        <p:txBody>
          <a:bodyPr/>
          <a:lstStyle/>
          <a:p>
            <a:r>
              <a:rPr lang="en-US" dirty="0">
                <a:solidFill>
                  <a:schemeClr val="bg2">
                    <a:lumMod val="25000"/>
                  </a:schemeClr>
                </a:solidFill>
              </a:rPr>
              <a:t>Genomics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515CE8FE-F91D-414A-AC0F-F16C6A81D754}"/>
              </a:ext>
            </a:extLst>
          </p:cNvPr>
          <p:cNvPicPr>
            <a:picLocks noChangeAspect="1"/>
          </p:cNvPicPr>
          <p:nvPr/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72209" y="3877358"/>
            <a:ext cx="3051221" cy="1199732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A5E26EB6-A866-2644-9644-3D3AB7EFD228}"/>
              </a:ext>
            </a:extLst>
          </p:cNvPr>
          <p:cNvPicPr>
            <a:picLocks noChangeAspect="1"/>
          </p:cNvPicPr>
          <p:nvPr/>
        </p:nvPicPr>
        <p:blipFill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393341" y="4152146"/>
            <a:ext cx="1040915" cy="296605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D8E3DF20-70D8-4F49-A14F-43E70BD955AC}"/>
              </a:ext>
            </a:extLst>
          </p:cNvPr>
          <p:cNvPicPr>
            <a:picLocks noChangeAspect="1"/>
          </p:cNvPicPr>
          <p:nvPr/>
        </p:nvPicPr>
        <p:blipFill>
          <a:blip r:embed="rId1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7392" y="989887"/>
            <a:ext cx="4108151" cy="30247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478270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5"/>
          <p:cNvSpPr txBox="1">
            <a:spLocks noChangeArrowheads="1"/>
          </p:cNvSpPr>
          <p:nvPr/>
        </p:nvSpPr>
        <p:spPr bwMode="gray">
          <a:xfrm>
            <a:off x="235522" y="123550"/>
            <a:ext cx="5939673" cy="45005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rIns="0" anchor="ctr"/>
          <a:lstStyle/>
          <a:p>
            <a:pPr defTabSz="685800" eaLnBrk="0" hangingPunct="0">
              <a:lnSpc>
                <a:spcPct val="95000"/>
              </a:lnSpc>
            </a:pPr>
            <a:r>
              <a:rPr lang="en-US" sz="2250" b="1" dirty="0" err="1">
                <a:solidFill>
                  <a:srgbClr val="171717"/>
                </a:solidFill>
                <a:latin typeface="Arial" charset="0"/>
                <a:ea typeface="Arial" charset="0"/>
                <a:cs typeface="Arial" charset="0"/>
              </a:rPr>
              <a:t>Ozercan</a:t>
            </a:r>
            <a:r>
              <a:rPr lang="en-US" sz="2250" b="1" dirty="0">
                <a:solidFill>
                  <a:srgbClr val="171717"/>
                </a:solidFill>
                <a:latin typeface="Arial" charset="0"/>
                <a:ea typeface="Arial" charset="0"/>
                <a:cs typeface="Arial" charset="0"/>
              </a:rPr>
              <a:t> et al.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22517D2A-4B92-C644-87DD-ADCF4039BB2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413362" y="1"/>
            <a:ext cx="6730637" cy="5143500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3C7330A1-3210-CB41-8850-DDF6E354B1D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0373" y="4228012"/>
            <a:ext cx="2120900" cy="571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33843974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" name="Object 2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033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5" name="Object 2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Title 1">
            <a:extLst>
              <a:ext uri="{FF2B5EF4-FFF2-40B4-BE49-F238E27FC236}">
                <a16:creationId xmlns:a16="http://schemas.microsoft.com/office/drawing/2014/main" id="{DFE9D53D-6B34-0E46-A3CB-1E210A8ED4F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-194353" y="303714"/>
            <a:ext cx="7498667" cy="603250"/>
          </a:xfrm>
        </p:spPr>
        <p:txBody>
          <a:bodyPr/>
          <a:lstStyle/>
          <a:p>
            <a:r>
              <a:rPr lang="en-US" dirty="0">
                <a:solidFill>
                  <a:schemeClr val="bg2">
                    <a:lumMod val="25000"/>
                  </a:schemeClr>
                </a:solidFill>
              </a:rPr>
              <a:t>Digital Health Identity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3C78AA08-FEBF-A94A-968A-2DA4BA12C69B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152073" y="1136382"/>
            <a:ext cx="1079500" cy="1295400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7E5BEF59-A005-B04C-9D62-6B3EF383045B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372678" y="3161124"/>
            <a:ext cx="1079500" cy="1295400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8E3BBF25-AF6F-894B-90EC-2DB3C7FF277B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89680" y="3161124"/>
            <a:ext cx="1079500" cy="1295400"/>
          </a:xfrm>
          <a:prstGeom prst="rect">
            <a:avLst/>
          </a:prstGeom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291BC03E-BD7E-ED40-83F7-8430622B759F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6781803" y="1136382"/>
            <a:ext cx="1079500" cy="1295400"/>
          </a:xfrm>
          <a:prstGeom prst="rect">
            <a:avLst/>
          </a:prstGeom>
        </p:spPr>
      </p:pic>
      <p:pic>
        <p:nvPicPr>
          <p:cNvPr id="24" name="Picture 23">
            <a:extLst>
              <a:ext uri="{FF2B5EF4-FFF2-40B4-BE49-F238E27FC236}">
                <a16:creationId xmlns:a16="http://schemas.microsoft.com/office/drawing/2014/main" id="{5BAF5AB5-96B8-8B4F-871B-B196E4EE3C36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4652735" y="1673679"/>
            <a:ext cx="1079500" cy="1295400"/>
          </a:xfrm>
          <a:prstGeom prst="rect">
            <a:avLst/>
          </a:prstGeom>
        </p:spPr>
      </p:pic>
      <p:pic>
        <p:nvPicPr>
          <p:cNvPr id="26" name="Picture 25">
            <a:extLst>
              <a:ext uri="{FF2B5EF4-FFF2-40B4-BE49-F238E27FC236}">
                <a16:creationId xmlns:a16="http://schemas.microsoft.com/office/drawing/2014/main" id="{C6F2B8C9-092C-384C-9EB8-F58B7C138713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2879975" y="2729592"/>
            <a:ext cx="1079500" cy="1295400"/>
          </a:xfrm>
          <a:prstGeom prst="rect">
            <a:avLst/>
          </a:prstGeom>
        </p:spPr>
      </p:pic>
      <p:sp>
        <p:nvSpPr>
          <p:cNvPr id="27" name="TextBox 26">
            <a:extLst>
              <a:ext uri="{FF2B5EF4-FFF2-40B4-BE49-F238E27FC236}">
                <a16:creationId xmlns:a16="http://schemas.microsoft.com/office/drawing/2014/main" id="{206A263A-F632-3949-9F70-87260AB630D9}"/>
              </a:ext>
            </a:extLst>
          </p:cNvPr>
          <p:cNvSpPr txBox="1"/>
          <p:nvPr/>
        </p:nvSpPr>
        <p:spPr>
          <a:xfrm>
            <a:off x="807670" y="2431782"/>
            <a:ext cx="176830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Patient Record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01F6A277-93BE-9949-8F94-88A701C717A2}"/>
              </a:ext>
            </a:extLst>
          </p:cNvPr>
          <p:cNvSpPr txBox="1"/>
          <p:nvPr/>
        </p:nvSpPr>
        <p:spPr>
          <a:xfrm>
            <a:off x="134803" y="4501276"/>
            <a:ext cx="218925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Fitbit/Apple Watch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E4E7BA2C-C0F3-1E4E-BCC3-8356B7867316}"/>
              </a:ext>
            </a:extLst>
          </p:cNvPr>
          <p:cNvSpPr txBox="1"/>
          <p:nvPr/>
        </p:nvSpPr>
        <p:spPr>
          <a:xfrm>
            <a:off x="6465389" y="2502537"/>
            <a:ext cx="171232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Genomic Data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194404E2-F726-B64F-8050-CDEA514C9CEE}"/>
              </a:ext>
            </a:extLst>
          </p:cNvPr>
          <p:cNvSpPr txBox="1"/>
          <p:nvPr/>
        </p:nvSpPr>
        <p:spPr>
          <a:xfrm>
            <a:off x="5593798" y="4483771"/>
            <a:ext cx="263726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Consumer Health Data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843DB188-7EDB-F846-9BF9-40C64236B250}"/>
              </a:ext>
            </a:extLst>
          </p:cNvPr>
          <p:cNvSpPr txBox="1"/>
          <p:nvPr/>
        </p:nvSpPr>
        <p:spPr>
          <a:xfrm>
            <a:off x="3952402" y="2996326"/>
            <a:ext cx="248016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Reimbursement Data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99F8FD97-3BE9-3E42-904B-2F31860058A6}"/>
              </a:ext>
            </a:extLst>
          </p:cNvPr>
          <p:cNvSpPr txBox="1"/>
          <p:nvPr/>
        </p:nvSpPr>
        <p:spPr>
          <a:xfrm>
            <a:off x="2771323" y="4073584"/>
            <a:ext cx="128913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err="1"/>
              <a:t>IoMT</a:t>
            </a:r>
            <a:r>
              <a:rPr lang="en-US" dirty="0"/>
              <a:t> Data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62B75EA2-1F51-C64B-ADF1-FD0D6A7C376D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6997190" y="1727982"/>
            <a:ext cx="1623609" cy="1737195"/>
          </a:xfrm>
          <a:prstGeom prst="rect">
            <a:avLst/>
          </a:prstGeom>
        </p:spPr>
      </p:pic>
      <p:sp>
        <p:nvSpPr>
          <p:cNvPr id="34" name="TextBox 33">
            <a:extLst>
              <a:ext uri="{FF2B5EF4-FFF2-40B4-BE49-F238E27FC236}">
                <a16:creationId xmlns:a16="http://schemas.microsoft.com/office/drawing/2014/main" id="{0B5B0DC9-7E7A-FF45-A75C-097818E36033}"/>
              </a:ext>
            </a:extLst>
          </p:cNvPr>
          <p:cNvSpPr txBox="1"/>
          <p:nvPr/>
        </p:nvSpPr>
        <p:spPr>
          <a:xfrm>
            <a:off x="6135050" y="2288400"/>
            <a:ext cx="595035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4800" b="1" dirty="0"/>
              <a:t>=</a:t>
            </a:r>
          </a:p>
        </p:txBody>
      </p:sp>
    </p:spTree>
    <p:extLst>
      <p:ext uri="{BB962C8B-B14F-4D97-AF65-F5344CB8AC3E}">
        <p14:creationId xmlns:p14="http://schemas.microsoft.com/office/powerpoint/2010/main" val="41445135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0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5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8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3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6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31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34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39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42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47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50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>
                      <p:stCondLst>
                        <p:cond delay="indefinite"/>
                      </p:stCondLst>
                      <p:childTnLst>
                        <p:par>
                          <p:cTn id="52" fill="hold">
                            <p:stCondLst>
                              <p:cond delay="0"/>
                            </p:stCondLst>
                            <p:childTnLst>
                              <p:par>
                                <p:cTn id="53" presetID="9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dissolve">
                                      <p:cBhvr>
                                        <p:cTn id="54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6" presetID="9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dissolve">
                                      <p:cBhvr>
                                        <p:cTn id="57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9" presetID="9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dissolve">
                                      <p:cBhvr>
                                        <p:cTn id="60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2" presetID="9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dissolve">
                                      <p:cBhvr>
                                        <p:cTn id="63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5" presetID="9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dissolve">
                                      <p:cBhvr>
                                        <p:cTn id="66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8" presetID="9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dissolve">
                                      <p:cBhvr>
                                        <p:cTn id="69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1" fill="hold">
                      <p:stCondLst>
                        <p:cond delay="indefinite"/>
                      </p:stCondLst>
                      <p:childTnLst>
                        <p:par>
                          <p:cTn id="72" fill="hold">
                            <p:stCondLst>
                              <p:cond delay="0"/>
                            </p:stCondLst>
                            <p:childTnLst>
                              <p:par>
                                <p:cTn id="73" presetID="0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6129 0.01297 C -0.05434 0.09105 -0.0474 0.16945 -0.04931 0.1926 C -0.05139 0.21574 -0.07309 0.15247 -0.07309 0.15247 L -0.07309 0.15247 " pathEditMode="relative" ptsTypes="AAAA">
                                      <p:cBhvr>
                                        <p:cTn id="74" dur="2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5" fill="hold">
                      <p:stCondLst>
                        <p:cond delay="indefinite"/>
                      </p:stCondLst>
                      <p:childTnLst>
                        <p:par>
                          <p:cTn id="76" fill="hold">
                            <p:stCondLst>
                              <p:cond delay="0"/>
                            </p:stCondLst>
                            <p:childTnLst>
                              <p:par>
                                <p:cTn id="77" presetID="0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6198 0.00031 L 0.07275 -0.23241 L 0.07275 -0.23241 " pathEditMode="relative" ptsTypes="AAA">
                                      <p:cBhvr>
                                        <p:cTn id="78" dur="20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9" fill="hold">
                      <p:stCondLst>
                        <p:cond delay="indefinite"/>
                      </p:stCondLst>
                      <p:childTnLst>
                        <p:par>
                          <p:cTn id="80" fill="hold">
                            <p:stCondLst>
                              <p:cond delay="0"/>
                            </p:stCondLst>
                            <p:childTnLst>
                              <p:par>
                                <p:cTn id="81" presetID="0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4219 0.01296 C -0.05452 0.04877 -0.06684 0.08426 -0.07188 0.05741 C -0.07708 0.03056 -0.07309 -0.14784 -0.07309 -0.14753 L -0.07309 -0.14784 " pathEditMode="relative" rAng="0" ptsTypes="AAAA">
                                      <p:cBhvr>
                                        <p:cTn id="82" dur="2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632" y="-537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3" fill="hold">
                      <p:stCondLst>
                        <p:cond delay="indefinite"/>
                      </p:stCondLst>
                      <p:childTnLst>
                        <p:par>
                          <p:cTn id="84" fill="hold">
                            <p:stCondLst>
                              <p:cond delay="0"/>
                            </p:stCondLst>
                            <p:childTnLst>
                              <p:par>
                                <p:cTn id="85" presetID="0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0243 0.13272 C -0.0191 0.22963 -0.03559 0.32686 -0.06562 0.31266 C -0.09548 0.29846 -0.13889 0.17315 -0.18212 0.04815 " pathEditMode="relative" ptsTypes="AAA">
                                      <p:cBhvr>
                                        <p:cTn id="86" dur="20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7" fill="hold">
                      <p:stCondLst>
                        <p:cond delay="indefinite"/>
                      </p:stCondLst>
                      <p:childTnLst>
                        <p:par>
                          <p:cTn id="88" fill="hold">
                            <p:stCondLst>
                              <p:cond delay="0"/>
                            </p:stCondLst>
                            <p:childTnLst>
                              <p:par>
                                <p:cTn id="89" presetID="0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7708 0.00617 C -0.09652 0.0679 -0.1158 0.12994 -0.14861 0.08858 C -0.18142 0.04722 -0.2276 -0.09722 -0.27361 -0.24136 " pathEditMode="relative" rAng="0" ptsTypes="AAA">
                                      <p:cBhvr>
                                        <p:cTn id="90" dur="2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9826" y="-7593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1" fill="hold">
                      <p:stCondLst>
                        <p:cond delay="indefinite"/>
                      </p:stCondLst>
                      <p:childTnLst>
                        <p:par>
                          <p:cTn id="92" fill="hold">
                            <p:stCondLst>
                              <p:cond delay="0"/>
                            </p:stCondLst>
                            <p:childTnLst>
                              <p:par>
                                <p:cTn id="93" presetID="0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6197 0.13179 C -0.07031 0.31636 -0.07864 0.50124 -0.10486 0.50402 C -0.13107 0.5071 -0.17517 0.32778 -0.21909 0.14846 " pathEditMode="relative" rAng="0" ptsTypes="AAA">
                                      <p:cBhvr>
                                        <p:cTn id="94" dur="20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7865" y="18611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5" fill="hold">
                      <p:stCondLst>
                        <p:cond delay="indefinite"/>
                      </p:stCondLst>
                      <p:childTnLst>
                        <p:par>
                          <p:cTn id="96" fill="hold">
                            <p:stCondLst>
                              <p:cond delay="0"/>
                            </p:stCondLst>
                            <p:childTnLst>
                              <p:par>
                                <p:cTn id="97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99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0" fill="hold">
                      <p:stCondLst>
                        <p:cond delay="indefinite"/>
                      </p:stCondLst>
                      <p:childTnLst>
                        <p:par>
                          <p:cTn id="101" fill="hold">
                            <p:stCondLst>
                              <p:cond delay="0"/>
                            </p:stCondLst>
                            <p:childTnLst>
                              <p:par>
                                <p:cTn id="102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04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7" grpId="0"/>
      <p:bldP spid="27" grpId="1"/>
      <p:bldP spid="28" grpId="0"/>
      <p:bldP spid="28" grpId="1"/>
      <p:bldP spid="29" grpId="0"/>
      <p:bldP spid="29" grpId="1"/>
      <p:bldP spid="30" grpId="0"/>
      <p:bldP spid="30" grpId="1"/>
      <p:bldP spid="31" grpId="0"/>
      <p:bldP spid="31" grpId="1"/>
      <p:bldP spid="32" grpId="0"/>
      <p:bldP spid="32" grpId="1"/>
      <p:bldP spid="34" grpId="0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691BAFC-84B8-1843-96F2-262F7023D87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1047935"/>
            <a:ext cx="9144000" cy="2304052"/>
          </a:xfrm>
        </p:spPr>
        <p:txBody>
          <a:bodyPr>
            <a:normAutofit fontScale="90000"/>
          </a:bodyPr>
          <a:lstStyle/>
          <a:p>
            <a:r>
              <a:rPr lang="en-US" sz="5400" b="1" dirty="0">
                <a:latin typeface="Avenir Next" panose="020B0503020202020204" pitchFamily="34" charset="0"/>
              </a:rPr>
              <a:t>Reinforcing Blockchain Basics and separating out the hype</a:t>
            </a:r>
          </a:p>
        </p:txBody>
      </p:sp>
    </p:spTree>
    <p:extLst>
      <p:ext uri="{BB962C8B-B14F-4D97-AF65-F5344CB8AC3E}">
        <p14:creationId xmlns:p14="http://schemas.microsoft.com/office/powerpoint/2010/main" val="4158945909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3" name="Picture 32">
            <a:extLst>
              <a:ext uri="{FF2B5EF4-FFF2-40B4-BE49-F238E27FC236}">
                <a16:creationId xmlns:a16="http://schemas.microsoft.com/office/drawing/2014/main" id="{62B75EA2-1F51-C64B-ADF1-FD0D6A7C376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997190" y="1727982"/>
            <a:ext cx="1623609" cy="1737195"/>
          </a:xfrm>
          <a:prstGeom prst="rect">
            <a:avLst/>
          </a:prstGeom>
        </p:spPr>
      </p:pic>
      <p:graphicFrame>
        <p:nvGraphicFramePr>
          <p:cNvPr id="25" name="Object 2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081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25" name="Object 24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Title 1">
            <a:extLst>
              <a:ext uri="{FF2B5EF4-FFF2-40B4-BE49-F238E27FC236}">
                <a16:creationId xmlns:a16="http://schemas.microsoft.com/office/drawing/2014/main" id="{DFE9D53D-6B34-0E46-A3CB-1E210A8ED4F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-194353" y="303714"/>
            <a:ext cx="7498667" cy="603250"/>
          </a:xfrm>
        </p:spPr>
        <p:txBody>
          <a:bodyPr/>
          <a:lstStyle/>
          <a:p>
            <a:r>
              <a:rPr lang="en-US" dirty="0">
                <a:solidFill>
                  <a:schemeClr val="bg2">
                    <a:lumMod val="25000"/>
                  </a:schemeClr>
                </a:solidFill>
              </a:rPr>
              <a:t>Digital Health Identity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93EDACD3-8F42-1044-AF34-AC2E876248C0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234829" y="1224148"/>
            <a:ext cx="1488704" cy="1488704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2309D399-DEA5-1744-BCCB-3BE5778DEACA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325106" y="3132434"/>
            <a:ext cx="825041" cy="1250453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614DA380-242A-F14D-A331-0C843001D048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2519087" y="3249035"/>
            <a:ext cx="1108917" cy="1340631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96AB424B-37C9-CC44-B179-968BB29E12E1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3940390" y="3260052"/>
            <a:ext cx="1254719" cy="1254719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8B77E8DD-3EBD-6848-9BFD-F029AD6E154E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5507495" y="3298302"/>
            <a:ext cx="1129999" cy="1129999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CBBEC222-326D-B647-93EA-2A348780C6AE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2973243" y="1968500"/>
            <a:ext cx="771332" cy="925598"/>
          </a:xfrm>
          <a:prstGeom prst="rect">
            <a:avLst/>
          </a:prstGeom>
        </p:spPr>
      </p:pic>
      <p:pic>
        <p:nvPicPr>
          <p:cNvPr id="38" name="Picture 37">
            <a:extLst>
              <a:ext uri="{FF2B5EF4-FFF2-40B4-BE49-F238E27FC236}">
                <a16:creationId xmlns:a16="http://schemas.microsoft.com/office/drawing/2014/main" id="{426E2037-2062-B249-92FB-24DF6DE0EC20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3358909" y="1979517"/>
            <a:ext cx="796231" cy="955477"/>
          </a:xfrm>
          <a:prstGeom prst="rect">
            <a:avLst/>
          </a:prstGeom>
        </p:spPr>
      </p:pic>
      <p:pic>
        <p:nvPicPr>
          <p:cNvPr id="39" name="Picture 38">
            <a:extLst>
              <a:ext uri="{FF2B5EF4-FFF2-40B4-BE49-F238E27FC236}">
                <a16:creationId xmlns:a16="http://schemas.microsoft.com/office/drawing/2014/main" id="{4B102AB4-DE29-EC48-8908-7A53498A06C7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3858262" y="2007056"/>
            <a:ext cx="771331" cy="925597"/>
          </a:xfrm>
          <a:prstGeom prst="rect">
            <a:avLst/>
          </a:prstGeom>
        </p:spPr>
      </p:pic>
      <p:pic>
        <p:nvPicPr>
          <p:cNvPr id="40" name="Picture 39">
            <a:extLst>
              <a:ext uri="{FF2B5EF4-FFF2-40B4-BE49-F238E27FC236}">
                <a16:creationId xmlns:a16="http://schemas.microsoft.com/office/drawing/2014/main" id="{E0368185-09B4-9246-B567-56C1B78F70CD}"/>
              </a:ext>
            </a:extLst>
          </p:cNvPr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4337868" y="2012561"/>
            <a:ext cx="771331" cy="925597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F1703F89-A636-B447-817C-DCA16E962720}"/>
              </a:ext>
            </a:extLst>
          </p:cNvPr>
          <p:cNvPicPr>
            <a:picLocks noChangeAspect="1"/>
          </p:cNvPicPr>
          <p:nvPr/>
        </p:nvPicPr>
        <p:blipFill rotWithShape="1">
          <a:blip r:embed="rId17"/>
          <a:srcRect t="3213" b="10767"/>
          <a:stretch/>
        </p:blipFill>
        <p:spPr>
          <a:xfrm>
            <a:off x="1737626" y="2145967"/>
            <a:ext cx="996328" cy="9255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845263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0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9132 -0.00463 L -0.3408 -0.00463 " pathEditMode="relative" rAng="0" ptsTypes="AA">
                                      <p:cBhvr>
                                        <p:cTn id="11" dur="20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2483" y="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6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9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4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7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30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35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6" fill="hold">
                      <p:stCondLst>
                        <p:cond delay="indefinite"/>
                      </p:stCondLst>
                      <p:childTnLst>
                        <p:par>
                          <p:cTn id="37" fill="hold">
                            <p:stCondLst>
                              <p:cond delay="0"/>
                            </p:stCondLst>
                            <p:childTnLst>
                              <p:par>
                                <p:cTn id="38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40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43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46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7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49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0" fill="hold">
                      <p:stCondLst>
                        <p:cond delay="indefinite"/>
                      </p:stCondLst>
                      <p:childTnLst>
                        <p:par>
                          <p:cTn id="51" fill="hold">
                            <p:stCondLst>
                              <p:cond delay="0"/>
                            </p:stCondLst>
                            <p:childTnLst>
                              <p:par>
                                <p:cTn id="52" presetID="0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0764 0.05494 L -0.03368 0.24506 " pathEditMode="relative" ptsTypes="AA">
                                      <p:cBhvr>
                                        <p:cTn id="53" dur="20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4" fill="hold">
                      <p:stCondLst>
                        <p:cond delay="indefinite"/>
                      </p:stCondLst>
                      <p:childTnLst>
                        <p:par>
                          <p:cTn id="55" fill="hold">
                            <p:stCondLst>
                              <p:cond delay="0"/>
                            </p:stCondLst>
                            <p:childTnLst>
                              <p:par>
                                <p:cTn id="56" presetID="0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0121 0.04969 L 0.2474 0.28426 " pathEditMode="relative" ptsTypes="AA">
                                      <p:cBhvr>
                                        <p:cTn id="57" dur="20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8" fill="hold">
                      <p:stCondLst>
                        <p:cond delay="indefinite"/>
                      </p:stCondLst>
                      <p:childTnLst>
                        <p:par>
                          <p:cTn id="59" fill="hold">
                            <p:stCondLst>
                              <p:cond delay="0"/>
                            </p:stCondLst>
                            <p:childTnLst>
                              <p:par>
                                <p:cTn id="60" presetID="0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3.05556E-6 0.03087 L -0.33437 0.28087 " pathEditMode="relative" ptsTypes="AA">
                                      <p:cBhvr>
                                        <p:cTn id="61" dur="20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2" fill="hold">
                      <p:stCondLst>
                        <p:cond delay="indefinite"/>
                      </p:stCondLst>
                      <p:childTnLst>
                        <p:par>
                          <p:cTn id="63" fill="hold">
                            <p:stCondLst>
                              <p:cond delay="0"/>
                            </p:stCondLst>
                            <p:childTnLst>
                              <p:par>
                                <p:cTn id="64" presetID="0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0972 0.04753 L 0.03594 0.2821 " pathEditMode="relative" ptsTypes="AA">
                                      <p:cBhvr>
                                        <p:cTn id="65" dur="20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" name="Object 2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129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25" name="Object 24" hidden="1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Slide Number Placeholder 1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7502" y="1012640"/>
            <a:ext cx="4328551" cy="2697214"/>
          </a:xfrm>
          <a:prstGeom prst="rect">
            <a:avLst/>
          </a:prstGeom>
        </p:spPr>
      </p:pic>
      <p:pic>
        <p:nvPicPr>
          <p:cNvPr id="43" name="Picture 42"/>
          <p:cNvPicPr>
            <a:picLocks noChangeAspect="1"/>
          </p:cNvPicPr>
          <p:nvPr/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64730" y="2913668"/>
            <a:ext cx="4008180" cy="1674973"/>
          </a:xfrm>
          <a:prstGeom prst="rect">
            <a:avLst/>
          </a:prstGeom>
        </p:spPr>
      </p:pic>
      <p:sp>
        <p:nvSpPr>
          <p:cNvPr id="22" name="Rectangle 21">
            <a:extLst>
              <a:ext uri="{FF2B5EF4-FFF2-40B4-BE49-F238E27FC236}">
                <a16:creationId xmlns:a16="http://schemas.microsoft.com/office/drawing/2014/main" id="{8E09885F-2AF1-C949-9BDC-9DAB371E2B3D}"/>
              </a:ext>
            </a:extLst>
          </p:cNvPr>
          <p:cNvSpPr/>
          <p:nvPr/>
        </p:nvSpPr>
        <p:spPr>
          <a:xfrm>
            <a:off x="4540052" y="3714158"/>
            <a:ext cx="4481962" cy="1192246"/>
          </a:xfrm>
          <a:prstGeom prst="rect">
            <a:avLst/>
          </a:prstGeom>
          <a:solidFill>
            <a:srgbClr val="19B5F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483E410B-65BA-5042-8AEA-0B23C191893A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5833746" y="3770962"/>
            <a:ext cx="3082834" cy="1092607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r>
              <a:rPr lang="en-US" sz="1300" b="1" dirty="0">
                <a:solidFill>
                  <a:schemeClr val="bg1"/>
                </a:solidFill>
                <a:latin typeface="Calibri Light" pitchFamily="34" charset="0"/>
              </a:rPr>
              <a:t>Additional meta-data (e.g. e-pedigree) in BC on supply chain attributes could help identify risks of counterfeiting and can also be augmented with other verification technologies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3CC2A681-1BEE-B64D-B393-7716E53918B6}"/>
              </a:ext>
            </a:extLst>
          </p:cNvPr>
          <p:cNvSpPr/>
          <p:nvPr/>
        </p:nvSpPr>
        <p:spPr>
          <a:xfrm>
            <a:off x="4533999" y="1110183"/>
            <a:ext cx="4485369" cy="813362"/>
          </a:xfrm>
          <a:prstGeom prst="rect">
            <a:avLst/>
          </a:prstGeom>
          <a:ln w="12700"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44DC1540-BB7A-D344-9618-808623F3DEB2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4586213" y="1157335"/>
            <a:ext cx="4471324" cy="738664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r>
              <a:rPr lang="en-US" sz="1400" b="1" dirty="0">
                <a:latin typeface="Calibri Light" pitchFamily="34" charset="0"/>
              </a:rPr>
              <a:t>Healthcare Problem:  </a:t>
            </a:r>
            <a:r>
              <a:rPr lang="en-US" sz="1400" dirty="0">
                <a:latin typeface="Calibri Light" pitchFamily="34" charset="0"/>
              </a:rPr>
              <a:t>The security of the drug supply chain has been compromised by infiltration of fake, falsified and substandard medicines. Complexity and lack of data sharing</a:t>
            </a:r>
            <a:endParaRPr lang="en-US" sz="1050" b="1" dirty="0">
              <a:solidFill>
                <a:schemeClr val="bg1"/>
              </a:solidFill>
              <a:latin typeface="Calibri Light" pitchFamily="34" charset="0"/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61D6EFCB-3CE7-D24C-805A-573B2217229A}"/>
              </a:ext>
            </a:extLst>
          </p:cNvPr>
          <p:cNvSpPr/>
          <p:nvPr/>
        </p:nvSpPr>
        <p:spPr>
          <a:xfrm>
            <a:off x="4533999" y="1966884"/>
            <a:ext cx="4485369" cy="813362"/>
          </a:xfrm>
          <a:prstGeom prst="rect">
            <a:avLst/>
          </a:prstGeom>
          <a:ln w="12700"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D1DFD853-61D5-A444-ADEA-03C211CB2B34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4586213" y="2012419"/>
            <a:ext cx="4382613" cy="738664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r>
              <a:rPr lang="en-US" sz="1400" b="1" dirty="0">
                <a:latin typeface="Calibri Light" pitchFamily="34" charset="0"/>
              </a:rPr>
              <a:t>Why </a:t>
            </a:r>
            <a:r>
              <a:rPr lang="en-US" sz="1400" b="1" dirty="0" err="1">
                <a:latin typeface="Calibri Light" pitchFamily="34" charset="0"/>
              </a:rPr>
              <a:t>Blockchain</a:t>
            </a:r>
            <a:r>
              <a:rPr lang="en-US" sz="1400" b="1" dirty="0">
                <a:latin typeface="Calibri Light" pitchFamily="34" charset="0"/>
              </a:rPr>
              <a:t>?:  </a:t>
            </a:r>
            <a:r>
              <a:rPr lang="en-US" sz="1400" dirty="0">
                <a:latin typeface="Calibri Light" pitchFamily="34" charset="0"/>
              </a:rPr>
              <a:t>Enables provenance of supply chain data across multiple partners and better ensures integrity of the supply chain against fake medicine penetration</a:t>
            </a:r>
            <a:endParaRPr lang="en-US" sz="1050" b="1" dirty="0">
              <a:solidFill>
                <a:schemeClr val="bg1"/>
              </a:solidFill>
              <a:latin typeface="Calibri Light" pitchFamily="34" charset="0"/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F993CA95-5128-B24F-A25D-7C7F57CFBC9A}"/>
              </a:ext>
            </a:extLst>
          </p:cNvPr>
          <p:cNvSpPr/>
          <p:nvPr/>
        </p:nvSpPr>
        <p:spPr>
          <a:xfrm>
            <a:off x="4530592" y="2833099"/>
            <a:ext cx="4485369" cy="813362"/>
          </a:xfrm>
          <a:prstGeom prst="rect">
            <a:avLst/>
          </a:prstGeom>
          <a:ln w="12700"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172CA627-CD77-E541-8D9F-3654202F75C7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4630934" y="2869161"/>
            <a:ext cx="4382613" cy="738664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r>
              <a:rPr lang="en-US" sz="1400" b="1" dirty="0">
                <a:latin typeface="Calibri Light" pitchFamily="34" charset="0"/>
              </a:rPr>
              <a:t>Design?:  </a:t>
            </a:r>
            <a:r>
              <a:rPr lang="en-US" sz="1400" dirty="0">
                <a:latin typeface="Calibri Light" pitchFamily="34" charset="0"/>
              </a:rPr>
              <a:t>Given industry needs, a permissions-based </a:t>
            </a:r>
            <a:r>
              <a:rPr lang="en-US" sz="1400" dirty="0" err="1">
                <a:latin typeface="Calibri Light" pitchFamily="34" charset="0"/>
              </a:rPr>
              <a:t>blockchain</a:t>
            </a:r>
            <a:r>
              <a:rPr lang="en-US" sz="1400" dirty="0">
                <a:latin typeface="Calibri Light" pitchFamily="34" charset="0"/>
              </a:rPr>
              <a:t> that is private and extends to select trusted partners is being explored by several companies</a:t>
            </a:r>
            <a:endParaRPr lang="en-US" sz="1050" b="1" dirty="0">
              <a:solidFill>
                <a:schemeClr val="bg1"/>
              </a:solidFill>
              <a:latin typeface="Calibri Light" pitchFamily="34" charset="0"/>
            </a:endParaRPr>
          </a:p>
        </p:txBody>
      </p:sp>
      <p:pic>
        <p:nvPicPr>
          <p:cNvPr id="34" name="Picture 33">
            <a:extLst>
              <a:ext uri="{FF2B5EF4-FFF2-40B4-BE49-F238E27FC236}">
                <a16:creationId xmlns:a16="http://schemas.microsoft.com/office/drawing/2014/main" id="{73EB349C-3942-A94F-AC9F-75932534A6A5}"/>
              </a:ext>
            </a:extLst>
          </p:cNvPr>
          <p:cNvPicPr>
            <a:picLocks noChangeAspect="1"/>
          </p:cNvPicPr>
          <p:nvPr/>
        </p:nvPicPr>
        <p:blipFill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82053" y="3861021"/>
            <a:ext cx="906569" cy="906569"/>
          </a:xfrm>
          <a:prstGeom prst="rect">
            <a:avLst/>
          </a:prstGeom>
        </p:spPr>
      </p:pic>
      <p:sp>
        <p:nvSpPr>
          <p:cNvPr id="20" name="Title 1">
            <a:extLst>
              <a:ext uri="{FF2B5EF4-FFF2-40B4-BE49-F238E27FC236}">
                <a16:creationId xmlns:a16="http://schemas.microsoft.com/office/drawing/2014/main" id="{EDDB4930-05E8-1349-85C5-0D3E09600AF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-194353" y="303714"/>
            <a:ext cx="6649744" cy="603250"/>
          </a:xfrm>
        </p:spPr>
        <p:txBody>
          <a:bodyPr/>
          <a:lstStyle/>
          <a:p>
            <a:r>
              <a:rPr lang="en-US" dirty="0">
                <a:solidFill>
                  <a:schemeClr val="bg2">
                    <a:lumMod val="25000"/>
                  </a:schemeClr>
                </a:solidFill>
              </a:rPr>
              <a:t>Drug Supply Chain</a:t>
            </a:r>
          </a:p>
        </p:txBody>
      </p:sp>
    </p:spTree>
    <p:extLst>
      <p:ext uri="{BB962C8B-B14F-4D97-AF65-F5344CB8AC3E}">
        <p14:creationId xmlns:p14="http://schemas.microsoft.com/office/powerpoint/2010/main" val="35745520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" name="Object 2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177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25" name="Object 24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Slide Number Placeholder 1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8867" y="2762730"/>
            <a:ext cx="857956" cy="857956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92024" y="1596682"/>
            <a:ext cx="1031642" cy="1031642"/>
          </a:xfrm>
          <a:prstGeom prst="rect">
            <a:avLst/>
          </a:prstGeom>
        </p:spPr>
      </p:pic>
      <p:pic>
        <p:nvPicPr>
          <p:cNvPr id="15" name="Picture 14"/>
          <p:cNvPicPr>
            <a:picLocks noChangeAspect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42179" y="1596682"/>
            <a:ext cx="1031642" cy="1031642"/>
          </a:xfrm>
          <a:prstGeom prst="rect">
            <a:avLst/>
          </a:prstGeom>
        </p:spPr>
      </p:pic>
      <p:cxnSp>
        <p:nvCxnSpPr>
          <p:cNvPr id="10" name="Straight Connector 9"/>
          <p:cNvCxnSpPr/>
          <p:nvPr/>
        </p:nvCxnSpPr>
        <p:spPr>
          <a:xfrm>
            <a:off x="1966340" y="2112503"/>
            <a:ext cx="804997" cy="0"/>
          </a:xfrm>
          <a:prstGeom prst="line">
            <a:avLst/>
          </a:prstGeom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17" name="TextBox 16"/>
          <p:cNvSpPr txBox="1"/>
          <p:nvPr/>
        </p:nvSpPr>
        <p:spPr>
          <a:xfrm>
            <a:off x="654209" y="3661422"/>
            <a:ext cx="150727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Manufacturer</a:t>
            </a:r>
          </a:p>
        </p:txBody>
      </p:sp>
      <p:pic>
        <p:nvPicPr>
          <p:cNvPr id="22" name="Picture 21"/>
          <p:cNvPicPr>
            <a:picLocks noChangeAspect="1"/>
          </p:cNvPicPr>
          <p:nvPr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45910" y="1873999"/>
            <a:ext cx="474025" cy="474025"/>
          </a:xfrm>
          <a:prstGeom prst="rect">
            <a:avLst/>
          </a:prstGeom>
        </p:spPr>
      </p:pic>
      <p:sp>
        <p:nvSpPr>
          <p:cNvPr id="24" name="TextBox 23"/>
          <p:cNvSpPr txBox="1"/>
          <p:nvPr/>
        </p:nvSpPr>
        <p:spPr>
          <a:xfrm>
            <a:off x="2679752" y="3782633"/>
            <a:ext cx="1271502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b="1" dirty="0"/>
              <a:t>Primary</a:t>
            </a:r>
            <a:br>
              <a:rPr lang="en-US" b="1" dirty="0"/>
            </a:br>
            <a:r>
              <a:rPr lang="en-US" b="1" dirty="0"/>
              <a:t>Wholesaler</a:t>
            </a:r>
          </a:p>
        </p:txBody>
      </p:sp>
      <p:pic>
        <p:nvPicPr>
          <p:cNvPr id="23" name="Picture 22"/>
          <p:cNvPicPr>
            <a:picLocks noChangeAspect="1"/>
          </p:cNvPicPr>
          <p:nvPr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739955" y="2921081"/>
            <a:ext cx="1031461" cy="717188"/>
          </a:xfrm>
          <a:prstGeom prst="rect">
            <a:avLst/>
          </a:prstGeom>
        </p:spPr>
      </p:pic>
      <p:cxnSp>
        <p:nvCxnSpPr>
          <p:cNvPr id="27" name="Straight Connector 26"/>
          <p:cNvCxnSpPr/>
          <p:nvPr/>
        </p:nvCxnSpPr>
        <p:spPr>
          <a:xfrm flipV="1">
            <a:off x="3771416" y="1344796"/>
            <a:ext cx="673392" cy="439750"/>
          </a:xfrm>
          <a:prstGeom prst="line">
            <a:avLst/>
          </a:prstGeom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30" name="Straight Connector 29"/>
          <p:cNvCxnSpPr/>
          <p:nvPr/>
        </p:nvCxnSpPr>
        <p:spPr>
          <a:xfrm>
            <a:off x="3758085" y="2435036"/>
            <a:ext cx="686723" cy="327694"/>
          </a:xfrm>
          <a:prstGeom prst="line">
            <a:avLst/>
          </a:prstGeom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pic>
        <p:nvPicPr>
          <p:cNvPr id="32" name="Picture 31"/>
          <p:cNvPicPr>
            <a:picLocks noChangeAspect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22827" y="707560"/>
            <a:ext cx="1031642" cy="1031642"/>
          </a:xfrm>
          <a:prstGeom prst="rect">
            <a:avLst/>
          </a:prstGeom>
        </p:spPr>
      </p:pic>
      <p:sp>
        <p:nvSpPr>
          <p:cNvPr id="38" name="TextBox 37"/>
          <p:cNvSpPr txBox="1"/>
          <p:nvPr/>
        </p:nvSpPr>
        <p:spPr>
          <a:xfrm>
            <a:off x="4425028" y="3887472"/>
            <a:ext cx="1271502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b="1" dirty="0"/>
              <a:t>Secondary</a:t>
            </a:r>
            <a:br>
              <a:rPr lang="en-US" b="1" dirty="0"/>
            </a:br>
            <a:r>
              <a:rPr lang="en-US" b="1" dirty="0"/>
              <a:t>Wholesaler</a:t>
            </a:r>
          </a:p>
        </p:txBody>
      </p:sp>
      <p:pic>
        <p:nvPicPr>
          <p:cNvPr id="39" name="Picture 38"/>
          <p:cNvPicPr>
            <a:picLocks noChangeAspect="1"/>
          </p:cNvPicPr>
          <p:nvPr/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591463" y="1470072"/>
            <a:ext cx="1139036" cy="1139036"/>
          </a:xfrm>
          <a:prstGeom prst="rect">
            <a:avLst/>
          </a:prstGeom>
        </p:spPr>
      </p:pic>
      <p:cxnSp>
        <p:nvCxnSpPr>
          <p:cNvPr id="40" name="Straight Connector 39"/>
          <p:cNvCxnSpPr/>
          <p:nvPr/>
        </p:nvCxnSpPr>
        <p:spPr>
          <a:xfrm>
            <a:off x="5632488" y="1344796"/>
            <a:ext cx="889687" cy="436485"/>
          </a:xfrm>
          <a:prstGeom prst="line">
            <a:avLst/>
          </a:prstGeom>
          <a:ln>
            <a:solidFill>
              <a:schemeClr val="tx1"/>
            </a:solidFill>
            <a:tailEnd type="stealth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pic>
        <p:nvPicPr>
          <p:cNvPr id="42" name="Picture 41"/>
          <p:cNvPicPr>
            <a:picLocks noChangeAspect="1"/>
          </p:cNvPicPr>
          <p:nvPr/>
        </p:nvPicPr>
        <p:blipFill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200807" y="2111011"/>
            <a:ext cx="784310" cy="784310"/>
          </a:xfrm>
          <a:prstGeom prst="rect">
            <a:avLst/>
          </a:prstGeom>
        </p:spPr>
      </p:pic>
      <p:pic>
        <p:nvPicPr>
          <p:cNvPr id="69" name="Picture 68"/>
          <p:cNvPicPr>
            <a:picLocks noChangeAspect="1"/>
          </p:cNvPicPr>
          <p:nvPr/>
        </p:nvPicPr>
        <p:blipFill>
          <a:blip r:embed="rId1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91974" y="1376655"/>
            <a:ext cx="509954" cy="509954"/>
          </a:xfrm>
          <a:prstGeom prst="rect">
            <a:avLst/>
          </a:prstGeom>
        </p:spPr>
      </p:pic>
      <p:sp>
        <p:nvSpPr>
          <p:cNvPr id="70" name="TextBox 69"/>
          <p:cNvSpPr txBox="1"/>
          <p:nvPr/>
        </p:nvSpPr>
        <p:spPr>
          <a:xfrm>
            <a:off x="4645190" y="1821130"/>
            <a:ext cx="160352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>
                <a:solidFill>
                  <a:schemeClr val="accent3">
                    <a:lumMod val="50000"/>
                  </a:schemeClr>
                </a:solidFill>
              </a:rPr>
              <a:t>Validated </a:t>
            </a:r>
            <a:r>
              <a:rPr lang="en-US" sz="1200" b="1">
                <a:solidFill>
                  <a:schemeClr val="accent3">
                    <a:lumMod val="50000"/>
                  </a:schemeClr>
                </a:solidFill>
              </a:rPr>
              <a:t>as “</a:t>
            </a:r>
            <a:r>
              <a:rPr lang="en-US" sz="1200" b="1" dirty="0">
                <a:solidFill>
                  <a:schemeClr val="accent3">
                    <a:lumMod val="50000"/>
                  </a:schemeClr>
                </a:solidFill>
              </a:rPr>
              <a:t>honest” part of chain</a:t>
            </a:r>
          </a:p>
        </p:txBody>
      </p:sp>
      <p:pic>
        <p:nvPicPr>
          <p:cNvPr id="73" name="Picture 72"/>
          <p:cNvPicPr>
            <a:picLocks noChangeAspect="1"/>
          </p:cNvPicPr>
          <p:nvPr/>
        </p:nvPicPr>
        <p:blipFill>
          <a:blip r:embed="rId1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19224" y="2383551"/>
            <a:ext cx="1032531" cy="1032531"/>
          </a:xfrm>
          <a:prstGeom prst="rect">
            <a:avLst/>
          </a:prstGeom>
        </p:spPr>
      </p:pic>
      <p:pic>
        <p:nvPicPr>
          <p:cNvPr id="71" name="Picture 70"/>
          <p:cNvPicPr>
            <a:picLocks noChangeAspect="1"/>
          </p:cNvPicPr>
          <p:nvPr/>
        </p:nvPicPr>
        <p:blipFill>
          <a:blip r:embed="rId1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54714" y="2956013"/>
            <a:ext cx="471390" cy="471390"/>
          </a:xfrm>
          <a:prstGeom prst="rect">
            <a:avLst/>
          </a:prstGeom>
        </p:spPr>
      </p:pic>
      <p:sp>
        <p:nvSpPr>
          <p:cNvPr id="74" name="TextBox 73"/>
          <p:cNvSpPr txBox="1"/>
          <p:nvPr/>
        </p:nvSpPr>
        <p:spPr>
          <a:xfrm>
            <a:off x="4688648" y="3416082"/>
            <a:ext cx="160352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>
                <a:solidFill>
                  <a:srgbClr val="FF0000"/>
                </a:solidFill>
              </a:rPr>
              <a:t>Rejected</a:t>
            </a:r>
          </a:p>
        </p:txBody>
      </p:sp>
      <p:sp>
        <p:nvSpPr>
          <p:cNvPr id="78" name="Rectangle 77"/>
          <p:cNvSpPr/>
          <p:nvPr/>
        </p:nvSpPr>
        <p:spPr>
          <a:xfrm>
            <a:off x="6236270" y="3423992"/>
            <a:ext cx="2583067" cy="1106130"/>
          </a:xfrm>
          <a:prstGeom prst="rect">
            <a:avLst/>
          </a:prstGeom>
          <a:ln w="12700">
            <a:solidFill>
              <a:schemeClr val="accent1"/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9" name="Rectangle 78"/>
          <p:cNvSpPr/>
          <p:nvPr>
            <p:custDataLst>
              <p:tags r:id="rId3"/>
            </p:custDataLst>
          </p:nvPr>
        </p:nvSpPr>
        <p:spPr>
          <a:xfrm>
            <a:off x="6282180" y="3383177"/>
            <a:ext cx="2636110" cy="1169551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r>
              <a:rPr lang="en-US" sz="1400" b="1" dirty="0">
                <a:latin typeface="Calibri Light" pitchFamily="34" charset="0"/>
              </a:rPr>
              <a:t>Private:  </a:t>
            </a:r>
            <a:r>
              <a:rPr lang="en-US" sz="1400" dirty="0">
                <a:latin typeface="Calibri Light" pitchFamily="34" charset="0"/>
              </a:rPr>
              <a:t>Not open to public (consumers) or regulators, focused on manufacturer’s supplier networks.  Compliance based on smart contracts</a:t>
            </a:r>
            <a:endParaRPr lang="en-US" sz="1050" dirty="0">
              <a:solidFill>
                <a:schemeClr val="bg1"/>
              </a:solidFill>
              <a:latin typeface="Calibri Light" pitchFamily="34" charset="0"/>
            </a:endParaRPr>
          </a:p>
        </p:txBody>
      </p:sp>
      <p:cxnSp>
        <p:nvCxnSpPr>
          <p:cNvPr id="90" name="Curved Connector 89"/>
          <p:cNvCxnSpPr>
            <a:stCxn id="22" idx="0"/>
            <a:endCxn id="32" idx="1"/>
          </p:cNvCxnSpPr>
          <p:nvPr/>
        </p:nvCxnSpPr>
        <p:spPr>
          <a:xfrm rot="5400000" flipH="1" flipV="1">
            <a:off x="3127566" y="478738"/>
            <a:ext cx="650618" cy="2139904"/>
          </a:xfrm>
          <a:prstGeom prst="curvedConnector2">
            <a:avLst/>
          </a:prstGeom>
          <a:ln>
            <a:solidFill>
              <a:schemeClr val="tx1"/>
            </a:solidFill>
            <a:prstDash val="sysDot"/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2" name="Curved Connector 91"/>
          <p:cNvCxnSpPr>
            <a:stCxn id="22" idx="0"/>
            <a:endCxn id="15" idx="0"/>
          </p:cNvCxnSpPr>
          <p:nvPr/>
        </p:nvCxnSpPr>
        <p:spPr>
          <a:xfrm rot="5400000" flipH="1" flipV="1">
            <a:off x="2731803" y="1247803"/>
            <a:ext cx="277317" cy="975077"/>
          </a:xfrm>
          <a:prstGeom prst="curvedConnector3">
            <a:avLst>
              <a:gd name="adj1" fmla="val 182433"/>
            </a:avLst>
          </a:prstGeom>
          <a:ln>
            <a:solidFill>
              <a:schemeClr val="tx1"/>
            </a:solidFill>
            <a:prstDash val="sysDot"/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3" name="TextBox 92"/>
          <p:cNvSpPr txBox="1"/>
          <p:nvPr/>
        </p:nvSpPr>
        <p:spPr>
          <a:xfrm>
            <a:off x="2062699" y="842309"/>
            <a:ext cx="160352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/>
              <a:t>Contract compliance based on identity</a:t>
            </a:r>
          </a:p>
        </p:txBody>
      </p:sp>
    </p:spTree>
    <p:extLst>
      <p:ext uri="{BB962C8B-B14F-4D97-AF65-F5344CB8AC3E}">
        <p14:creationId xmlns:p14="http://schemas.microsoft.com/office/powerpoint/2010/main" val="11085095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0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5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8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3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6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9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32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35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6" fill="hold">
                      <p:stCondLst>
                        <p:cond delay="indefinite"/>
                      </p:stCondLst>
                      <p:childTnLst>
                        <p:par>
                          <p:cTn id="37" fill="hold">
                            <p:stCondLst>
                              <p:cond delay="0"/>
                            </p:stCondLst>
                            <p:childTnLst>
                              <p:par>
                                <p:cTn id="38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40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43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4" fill="hold">
                      <p:stCondLst>
                        <p:cond delay="indefinite"/>
                      </p:stCondLst>
                      <p:childTnLst>
                        <p:par>
                          <p:cTn id="45" fill="hold">
                            <p:stCondLst>
                              <p:cond delay="0"/>
                            </p:stCondLst>
                            <p:childTnLst>
                              <p:par>
                                <p:cTn id="46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48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9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51" dur="500"/>
                                        <p:tgtEl>
                                          <p:spTgt spid="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2" fill="hold">
                      <p:stCondLst>
                        <p:cond delay="indefinite"/>
                      </p:stCondLst>
                      <p:childTnLst>
                        <p:par>
                          <p:cTn id="53" fill="hold">
                            <p:stCondLst>
                              <p:cond delay="0"/>
                            </p:stCondLst>
                            <p:childTnLst>
                              <p:par>
                                <p:cTn id="54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56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7" fill="hold">
                      <p:stCondLst>
                        <p:cond delay="indefinite"/>
                      </p:stCondLst>
                      <p:childTnLst>
                        <p:par>
                          <p:cTn id="58" fill="hold">
                            <p:stCondLst>
                              <p:cond delay="0"/>
                            </p:stCondLst>
                            <p:childTnLst>
                              <p:par>
                                <p:cTn id="59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61" dur="500"/>
                                        <p:tgtEl>
                                          <p:spTgt spid="9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2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64" dur="500"/>
                                        <p:tgtEl>
                                          <p:spTgt spid="9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5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67" dur="500"/>
                                        <p:tgtEl>
                                          <p:spTgt spid="9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8" fill="hold">
                      <p:stCondLst>
                        <p:cond delay="indefinite"/>
                      </p:stCondLst>
                      <p:childTnLst>
                        <p:par>
                          <p:cTn id="69" fill="hold">
                            <p:stCondLst>
                              <p:cond delay="0"/>
                            </p:stCondLst>
                            <p:childTnLst>
                              <p:par>
                                <p:cTn id="70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2" dur="500"/>
                                        <p:tgtEl>
                                          <p:spTgt spid="6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3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5" dur="500"/>
                                        <p:tgtEl>
                                          <p:spTgt spid="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6" fill="hold">
                      <p:stCondLst>
                        <p:cond delay="indefinite"/>
                      </p:stCondLst>
                      <p:childTnLst>
                        <p:par>
                          <p:cTn id="77" fill="hold">
                            <p:stCondLst>
                              <p:cond delay="0"/>
                            </p:stCondLst>
                            <p:childTnLst>
                              <p:par>
                                <p:cTn id="78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80" dur="500"/>
                                        <p:tgtEl>
                                          <p:spTgt spid="7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1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83" dur="500"/>
                                        <p:tgtEl>
                                          <p:spTgt spid="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4" fill="hold">
                      <p:stCondLst>
                        <p:cond delay="indefinite"/>
                      </p:stCondLst>
                      <p:childTnLst>
                        <p:par>
                          <p:cTn id="85" fill="hold">
                            <p:stCondLst>
                              <p:cond delay="0"/>
                            </p:stCondLst>
                            <p:childTnLst>
                              <p:par>
                                <p:cTn id="86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88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9" fill="hold">
                      <p:stCondLst>
                        <p:cond delay="indefinite"/>
                      </p:stCondLst>
                      <p:childTnLst>
                        <p:par>
                          <p:cTn id="90" fill="hold">
                            <p:stCondLst>
                              <p:cond delay="0"/>
                            </p:stCondLst>
                            <p:childTnLst>
                              <p:par>
                                <p:cTn id="91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93" dur="500"/>
                                        <p:tgtEl>
                                          <p:spTgt spid="7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4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96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7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99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0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02" dur="500"/>
                                        <p:tgtEl>
                                          <p:spTgt spid="7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" grpId="0"/>
      <p:bldP spid="24" grpId="0"/>
      <p:bldP spid="38" grpId="0"/>
      <p:bldP spid="70" grpId="0"/>
      <p:bldP spid="74" grpId="0"/>
      <p:bldP spid="78" grpId="0" animBg="1"/>
      <p:bldP spid="79" grpId="0"/>
      <p:bldP spid="93" grpId="0"/>
    </p:bld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" name="Object 2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225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25" name="Object 24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Slide Number Placeholder 1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0307" y="3137952"/>
            <a:ext cx="857956" cy="857956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25984" y="2030439"/>
            <a:ext cx="889122" cy="889122"/>
          </a:xfrm>
          <a:prstGeom prst="rect">
            <a:avLst/>
          </a:prstGeom>
        </p:spPr>
      </p:pic>
      <p:pic>
        <p:nvPicPr>
          <p:cNvPr id="15" name="Picture 14"/>
          <p:cNvPicPr>
            <a:picLocks noChangeAspect="1"/>
          </p:cNvPicPr>
          <p:nvPr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906641" y="2018563"/>
            <a:ext cx="932901" cy="932901"/>
          </a:xfrm>
          <a:prstGeom prst="rect">
            <a:avLst/>
          </a:prstGeom>
        </p:spPr>
      </p:pic>
      <p:cxnSp>
        <p:nvCxnSpPr>
          <p:cNvPr id="10" name="Straight Connector 9"/>
          <p:cNvCxnSpPr/>
          <p:nvPr/>
        </p:nvCxnSpPr>
        <p:spPr>
          <a:xfrm>
            <a:off x="2057780" y="2487725"/>
            <a:ext cx="804997" cy="0"/>
          </a:xfrm>
          <a:prstGeom prst="line">
            <a:avLst/>
          </a:prstGeom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17" name="TextBox 16"/>
          <p:cNvSpPr txBox="1"/>
          <p:nvPr/>
        </p:nvSpPr>
        <p:spPr>
          <a:xfrm>
            <a:off x="745649" y="4036644"/>
            <a:ext cx="150727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Manufacturer</a:t>
            </a:r>
          </a:p>
        </p:txBody>
      </p:sp>
      <p:pic>
        <p:nvPicPr>
          <p:cNvPr id="22" name="Picture 21"/>
          <p:cNvPicPr>
            <a:picLocks noChangeAspect="1"/>
          </p:cNvPicPr>
          <p:nvPr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37350" y="2249221"/>
            <a:ext cx="474025" cy="474025"/>
          </a:xfrm>
          <a:prstGeom prst="rect">
            <a:avLst/>
          </a:prstGeom>
        </p:spPr>
      </p:pic>
      <p:sp>
        <p:nvSpPr>
          <p:cNvPr id="24" name="TextBox 23"/>
          <p:cNvSpPr txBox="1"/>
          <p:nvPr/>
        </p:nvSpPr>
        <p:spPr>
          <a:xfrm>
            <a:off x="2771192" y="4157855"/>
            <a:ext cx="1271502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b="1" dirty="0"/>
              <a:t>Primary</a:t>
            </a:r>
            <a:br>
              <a:rPr lang="en-US" b="1" dirty="0"/>
            </a:br>
            <a:r>
              <a:rPr lang="en-US" b="1" dirty="0"/>
              <a:t>Wholesaler</a:t>
            </a:r>
          </a:p>
        </p:txBody>
      </p:sp>
      <p:pic>
        <p:nvPicPr>
          <p:cNvPr id="23" name="Picture 22"/>
          <p:cNvPicPr>
            <a:picLocks noChangeAspect="1"/>
          </p:cNvPicPr>
          <p:nvPr/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31395" y="3296303"/>
            <a:ext cx="1031461" cy="717188"/>
          </a:xfrm>
          <a:prstGeom prst="rect">
            <a:avLst/>
          </a:prstGeom>
        </p:spPr>
      </p:pic>
      <p:cxnSp>
        <p:nvCxnSpPr>
          <p:cNvPr id="27" name="Straight Connector 26"/>
          <p:cNvCxnSpPr/>
          <p:nvPr/>
        </p:nvCxnSpPr>
        <p:spPr>
          <a:xfrm flipV="1">
            <a:off x="3862856" y="1720018"/>
            <a:ext cx="673392" cy="439750"/>
          </a:xfrm>
          <a:prstGeom prst="line">
            <a:avLst/>
          </a:prstGeom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30" name="Straight Connector 29"/>
          <p:cNvCxnSpPr/>
          <p:nvPr/>
        </p:nvCxnSpPr>
        <p:spPr>
          <a:xfrm>
            <a:off x="3849525" y="2810258"/>
            <a:ext cx="668061" cy="327694"/>
          </a:xfrm>
          <a:prstGeom prst="line">
            <a:avLst/>
          </a:prstGeom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pic>
        <p:nvPicPr>
          <p:cNvPr id="32" name="Picture 31"/>
          <p:cNvPicPr>
            <a:picLocks noChangeAspect="1"/>
          </p:cNvPicPr>
          <p:nvPr/>
        </p:nvPicPr>
        <p:blipFill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609750" y="1188182"/>
            <a:ext cx="920026" cy="920026"/>
          </a:xfrm>
          <a:prstGeom prst="rect">
            <a:avLst/>
          </a:prstGeom>
        </p:spPr>
      </p:pic>
      <p:sp>
        <p:nvSpPr>
          <p:cNvPr id="38" name="TextBox 37"/>
          <p:cNvSpPr txBox="1"/>
          <p:nvPr/>
        </p:nvSpPr>
        <p:spPr>
          <a:xfrm>
            <a:off x="4516468" y="4262694"/>
            <a:ext cx="1271502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b="1" dirty="0"/>
              <a:t>Secondary</a:t>
            </a:r>
            <a:br>
              <a:rPr lang="en-US" b="1" dirty="0"/>
            </a:br>
            <a:r>
              <a:rPr lang="en-US" b="1" dirty="0"/>
              <a:t>Wholesaler</a:t>
            </a:r>
          </a:p>
        </p:txBody>
      </p:sp>
      <p:pic>
        <p:nvPicPr>
          <p:cNvPr id="39" name="Picture 38"/>
          <p:cNvPicPr>
            <a:picLocks noChangeAspect="1"/>
          </p:cNvPicPr>
          <p:nvPr/>
        </p:nvPicPr>
        <p:blipFill>
          <a:blip r:embed="rId1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82903" y="1845294"/>
            <a:ext cx="1139036" cy="1139036"/>
          </a:xfrm>
          <a:prstGeom prst="rect">
            <a:avLst/>
          </a:prstGeom>
        </p:spPr>
      </p:pic>
      <p:cxnSp>
        <p:nvCxnSpPr>
          <p:cNvPr id="40" name="Straight Connector 39"/>
          <p:cNvCxnSpPr/>
          <p:nvPr/>
        </p:nvCxnSpPr>
        <p:spPr>
          <a:xfrm>
            <a:off x="5723928" y="1720018"/>
            <a:ext cx="889687" cy="436485"/>
          </a:xfrm>
          <a:prstGeom prst="line">
            <a:avLst/>
          </a:prstGeom>
          <a:ln>
            <a:solidFill>
              <a:schemeClr val="tx1"/>
            </a:solidFill>
            <a:tailEnd type="stealth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pic>
        <p:nvPicPr>
          <p:cNvPr id="42" name="Picture 41"/>
          <p:cNvPicPr>
            <a:picLocks noChangeAspect="1"/>
          </p:cNvPicPr>
          <p:nvPr/>
        </p:nvPicPr>
        <p:blipFill>
          <a:blip r:embed="rId1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292247" y="2486233"/>
            <a:ext cx="784310" cy="784310"/>
          </a:xfrm>
          <a:prstGeom prst="rect">
            <a:avLst/>
          </a:prstGeom>
        </p:spPr>
      </p:pic>
      <p:pic>
        <p:nvPicPr>
          <p:cNvPr id="69" name="Picture 68"/>
          <p:cNvPicPr>
            <a:picLocks noChangeAspect="1"/>
          </p:cNvPicPr>
          <p:nvPr/>
        </p:nvPicPr>
        <p:blipFill>
          <a:blip r:embed="rId1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83414" y="1751877"/>
            <a:ext cx="509954" cy="509954"/>
          </a:xfrm>
          <a:prstGeom prst="rect">
            <a:avLst/>
          </a:prstGeom>
        </p:spPr>
      </p:pic>
      <p:sp>
        <p:nvSpPr>
          <p:cNvPr id="70" name="TextBox 69"/>
          <p:cNvSpPr txBox="1"/>
          <p:nvPr/>
        </p:nvSpPr>
        <p:spPr>
          <a:xfrm>
            <a:off x="4736630" y="2196352"/>
            <a:ext cx="160352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>
                <a:solidFill>
                  <a:schemeClr val="accent3">
                    <a:lumMod val="50000"/>
                  </a:schemeClr>
                </a:solidFill>
              </a:rPr>
              <a:t>Validated </a:t>
            </a:r>
            <a:r>
              <a:rPr lang="en-US" sz="1200" b="1">
                <a:solidFill>
                  <a:schemeClr val="accent3">
                    <a:lumMod val="50000"/>
                  </a:schemeClr>
                </a:solidFill>
              </a:rPr>
              <a:t>as “</a:t>
            </a:r>
            <a:r>
              <a:rPr lang="en-US" sz="1200" b="1" dirty="0">
                <a:solidFill>
                  <a:schemeClr val="accent3">
                    <a:lumMod val="50000"/>
                  </a:schemeClr>
                </a:solidFill>
              </a:rPr>
              <a:t>honest” part of chain</a:t>
            </a:r>
          </a:p>
        </p:txBody>
      </p:sp>
      <p:pic>
        <p:nvPicPr>
          <p:cNvPr id="73" name="Picture 72"/>
          <p:cNvPicPr>
            <a:picLocks noChangeAspect="1"/>
          </p:cNvPicPr>
          <p:nvPr/>
        </p:nvPicPr>
        <p:blipFill>
          <a:blip r:embed="rId1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34" y="2763502"/>
            <a:ext cx="938896" cy="938896"/>
          </a:xfrm>
          <a:prstGeom prst="rect">
            <a:avLst/>
          </a:prstGeom>
        </p:spPr>
      </p:pic>
      <p:pic>
        <p:nvPicPr>
          <p:cNvPr id="71" name="Picture 70"/>
          <p:cNvPicPr>
            <a:picLocks noChangeAspect="1"/>
          </p:cNvPicPr>
          <p:nvPr/>
        </p:nvPicPr>
        <p:blipFill>
          <a:blip r:embed="rId1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93870" y="3313311"/>
            <a:ext cx="471390" cy="471390"/>
          </a:xfrm>
          <a:prstGeom prst="rect">
            <a:avLst/>
          </a:prstGeom>
        </p:spPr>
      </p:pic>
      <p:sp>
        <p:nvSpPr>
          <p:cNvPr id="74" name="TextBox 73"/>
          <p:cNvSpPr txBox="1"/>
          <p:nvPr/>
        </p:nvSpPr>
        <p:spPr>
          <a:xfrm>
            <a:off x="4709169" y="3782759"/>
            <a:ext cx="160352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>
                <a:solidFill>
                  <a:srgbClr val="FF0000"/>
                </a:solidFill>
              </a:rPr>
              <a:t>Rejected</a:t>
            </a:r>
            <a:endParaRPr lang="en-US" sz="1200" b="1" dirty="0">
              <a:solidFill>
                <a:srgbClr val="FF0000"/>
              </a:solidFill>
            </a:endParaRPr>
          </a:p>
        </p:txBody>
      </p:sp>
      <p:sp>
        <p:nvSpPr>
          <p:cNvPr id="78" name="Rectangle 77"/>
          <p:cNvSpPr/>
          <p:nvPr/>
        </p:nvSpPr>
        <p:spPr>
          <a:xfrm>
            <a:off x="6372801" y="3709629"/>
            <a:ext cx="2583067" cy="1106130"/>
          </a:xfrm>
          <a:prstGeom prst="rect">
            <a:avLst/>
          </a:prstGeom>
          <a:ln w="12700">
            <a:solidFill>
              <a:schemeClr val="accent1"/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9" name="Rectangle 78"/>
          <p:cNvSpPr/>
          <p:nvPr>
            <p:custDataLst>
              <p:tags r:id="rId3"/>
            </p:custDataLst>
          </p:nvPr>
        </p:nvSpPr>
        <p:spPr>
          <a:xfrm>
            <a:off x="6418711" y="3668814"/>
            <a:ext cx="2636110" cy="1169551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r>
              <a:rPr lang="en-US" sz="1400" b="1" dirty="0">
                <a:latin typeface="Calibri Light" pitchFamily="34" charset="0"/>
              </a:rPr>
              <a:t>Private and Regulator (Consortium):  </a:t>
            </a:r>
            <a:r>
              <a:rPr lang="en-US" sz="1400" dirty="0">
                <a:latin typeface="Calibri Light" pitchFamily="34" charset="0"/>
              </a:rPr>
              <a:t>Not open to public (consumers) but limited visibility to regulators to monitor compliance of smart contracts.</a:t>
            </a:r>
            <a:endParaRPr lang="en-US" sz="1050" dirty="0">
              <a:solidFill>
                <a:schemeClr val="bg1"/>
              </a:solidFill>
              <a:latin typeface="Calibri Light" pitchFamily="34" charset="0"/>
            </a:endParaRPr>
          </a:p>
        </p:txBody>
      </p:sp>
      <p:sp>
        <p:nvSpPr>
          <p:cNvPr id="93" name="TextBox 92"/>
          <p:cNvSpPr txBox="1"/>
          <p:nvPr/>
        </p:nvSpPr>
        <p:spPr>
          <a:xfrm>
            <a:off x="4736630" y="414132"/>
            <a:ext cx="292770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i="1" dirty="0"/>
              <a:t>Contract compliance based on regulatory controls such as licensure (as required by DSCSA) and other standards</a:t>
            </a: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1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86174" y="459588"/>
            <a:ext cx="2150456" cy="569657"/>
          </a:xfrm>
          <a:prstGeom prst="rect">
            <a:avLst/>
          </a:prstGeom>
        </p:spPr>
      </p:pic>
      <p:cxnSp>
        <p:nvCxnSpPr>
          <p:cNvPr id="11" name="Elbow Connector 10"/>
          <p:cNvCxnSpPr/>
          <p:nvPr/>
        </p:nvCxnSpPr>
        <p:spPr>
          <a:xfrm rot="5400000" flipH="1" flipV="1">
            <a:off x="2147823" y="1343199"/>
            <a:ext cx="1219976" cy="592068"/>
          </a:xfrm>
          <a:prstGeom prst="bentConnector3">
            <a:avLst/>
          </a:prstGeom>
          <a:ln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/>
          <p:cNvCxnSpPr/>
          <p:nvPr/>
        </p:nvCxnSpPr>
        <p:spPr>
          <a:xfrm>
            <a:off x="4314305" y="1029245"/>
            <a:ext cx="422325" cy="325730"/>
          </a:xfrm>
          <a:prstGeom prst="line">
            <a:avLst/>
          </a:prstGeom>
          <a:ln>
            <a:solidFill>
              <a:schemeClr val="tx1"/>
            </a:solidFill>
            <a:prstDash val="sys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4" name="Straight Connector 43"/>
          <p:cNvCxnSpPr>
            <a:endCxn id="15" idx="0"/>
          </p:cNvCxnSpPr>
          <p:nvPr/>
        </p:nvCxnSpPr>
        <p:spPr>
          <a:xfrm flipH="1">
            <a:off x="3373092" y="1024731"/>
            <a:ext cx="241713" cy="993832"/>
          </a:xfrm>
          <a:prstGeom prst="line">
            <a:avLst/>
          </a:prstGeom>
          <a:ln>
            <a:solidFill>
              <a:schemeClr val="tx1"/>
            </a:solidFill>
            <a:prstDash val="sys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309855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2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7" dur="500"/>
                                        <p:tgtEl>
                                          <p:spTgt spid="9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2" dur="500"/>
                                        <p:tgtEl>
                                          <p:spTgt spid="7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5" dur="500"/>
                                        <p:tgtEl>
                                          <p:spTgt spid="7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8" grpId="0" animBg="1"/>
      <p:bldP spid="79" grpId="0"/>
      <p:bldP spid="93" grpId="0"/>
    </p:bld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" name="Object 2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273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25" name="Object 24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Slide Number Placeholder 1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0307" y="3137952"/>
            <a:ext cx="857956" cy="857956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25984" y="2030439"/>
            <a:ext cx="889122" cy="889122"/>
          </a:xfrm>
          <a:prstGeom prst="rect">
            <a:avLst/>
          </a:prstGeom>
        </p:spPr>
      </p:pic>
      <p:pic>
        <p:nvPicPr>
          <p:cNvPr id="15" name="Picture 14"/>
          <p:cNvPicPr>
            <a:picLocks noChangeAspect="1"/>
          </p:cNvPicPr>
          <p:nvPr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906641" y="2018563"/>
            <a:ext cx="932901" cy="932901"/>
          </a:xfrm>
          <a:prstGeom prst="rect">
            <a:avLst/>
          </a:prstGeom>
        </p:spPr>
      </p:pic>
      <p:cxnSp>
        <p:nvCxnSpPr>
          <p:cNvPr id="10" name="Straight Connector 9"/>
          <p:cNvCxnSpPr/>
          <p:nvPr/>
        </p:nvCxnSpPr>
        <p:spPr>
          <a:xfrm>
            <a:off x="2057780" y="2487725"/>
            <a:ext cx="804997" cy="0"/>
          </a:xfrm>
          <a:prstGeom prst="line">
            <a:avLst/>
          </a:prstGeom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17" name="TextBox 16"/>
          <p:cNvSpPr txBox="1"/>
          <p:nvPr/>
        </p:nvSpPr>
        <p:spPr>
          <a:xfrm>
            <a:off x="745649" y="4036644"/>
            <a:ext cx="150727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Manufacturer</a:t>
            </a:r>
          </a:p>
        </p:txBody>
      </p:sp>
      <p:pic>
        <p:nvPicPr>
          <p:cNvPr id="21" name="Picture 20"/>
          <p:cNvPicPr>
            <a:picLocks noChangeAspect="1"/>
          </p:cNvPicPr>
          <p:nvPr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795659" y="1875452"/>
            <a:ext cx="1461595" cy="1461595"/>
          </a:xfrm>
          <a:prstGeom prst="rect">
            <a:avLst/>
          </a:prstGeom>
        </p:spPr>
      </p:pic>
      <p:pic>
        <p:nvPicPr>
          <p:cNvPr id="22" name="Picture 21"/>
          <p:cNvPicPr>
            <a:picLocks noChangeAspect="1"/>
          </p:cNvPicPr>
          <p:nvPr/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37350" y="2249221"/>
            <a:ext cx="474025" cy="474025"/>
          </a:xfrm>
          <a:prstGeom prst="rect">
            <a:avLst/>
          </a:prstGeom>
        </p:spPr>
      </p:pic>
      <p:sp>
        <p:nvSpPr>
          <p:cNvPr id="24" name="TextBox 23"/>
          <p:cNvSpPr txBox="1"/>
          <p:nvPr/>
        </p:nvSpPr>
        <p:spPr>
          <a:xfrm>
            <a:off x="2771192" y="4157855"/>
            <a:ext cx="1271502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b="1" dirty="0"/>
              <a:t>Primary</a:t>
            </a:r>
            <a:br>
              <a:rPr lang="en-US" b="1" dirty="0"/>
            </a:br>
            <a:r>
              <a:rPr lang="en-US" b="1" dirty="0"/>
              <a:t>Wholesaler</a:t>
            </a:r>
          </a:p>
        </p:txBody>
      </p:sp>
      <p:pic>
        <p:nvPicPr>
          <p:cNvPr id="23" name="Picture 22"/>
          <p:cNvPicPr>
            <a:picLocks noChangeAspect="1"/>
          </p:cNvPicPr>
          <p:nvPr/>
        </p:nvPicPr>
        <p:blipFill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31395" y="3296303"/>
            <a:ext cx="1031461" cy="717188"/>
          </a:xfrm>
          <a:prstGeom prst="rect">
            <a:avLst/>
          </a:prstGeom>
        </p:spPr>
      </p:pic>
      <p:cxnSp>
        <p:nvCxnSpPr>
          <p:cNvPr id="27" name="Straight Connector 26"/>
          <p:cNvCxnSpPr/>
          <p:nvPr/>
        </p:nvCxnSpPr>
        <p:spPr>
          <a:xfrm flipV="1">
            <a:off x="3862856" y="1720018"/>
            <a:ext cx="673392" cy="439750"/>
          </a:xfrm>
          <a:prstGeom prst="line">
            <a:avLst/>
          </a:prstGeom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30" name="Straight Connector 29"/>
          <p:cNvCxnSpPr/>
          <p:nvPr/>
        </p:nvCxnSpPr>
        <p:spPr>
          <a:xfrm>
            <a:off x="3849525" y="2810258"/>
            <a:ext cx="668061" cy="327694"/>
          </a:xfrm>
          <a:prstGeom prst="line">
            <a:avLst/>
          </a:prstGeom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pic>
        <p:nvPicPr>
          <p:cNvPr id="32" name="Picture 31"/>
          <p:cNvPicPr>
            <a:picLocks noChangeAspect="1"/>
          </p:cNvPicPr>
          <p:nvPr/>
        </p:nvPicPr>
        <p:blipFill>
          <a:blip r:embed="rId1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609750" y="1188182"/>
            <a:ext cx="920026" cy="920026"/>
          </a:xfrm>
          <a:prstGeom prst="rect">
            <a:avLst/>
          </a:prstGeom>
        </p:spPr>
      </p:pic>
      <p:sp>
        <p:nvSpPr>
          <p:cNvPr id="38" name="TextBox 37"/>
          <p:cNvSpPr txBox="1"/>
          <p:nvPr/>
        </p:nvSpPr>
        <p:spPr>
          <a:xfrm>
            <a:off x="4516468" y="4262694"/>
            <a:ext cx="1271502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b="1" dirty="0"/>
              <a:t>Secondary</a:t>
            </a:r>
            <a:br>
              <a:rPr lang="en-US" b="1" dirty="0"/>
            </a:br>
            <a:r>
              <a:rPr lang="en-US" b="1" dirty="0"/>
              <a:t>Wholesaler</a:t>
            </a:r>
          </a:p>
        </p:txBody>
      </p:sp>
      <p:pic>
        <p:nvPicPr>
          <p:cNvPr id="39" name="Picture 38"/>
          <p:cNvPicPr>
            <a:picLocks noChangeAspect="1"/>
          </p:cNvPicPr>
          <p:nvPr/>
        </p:nvPicPr>
        <p:blipFill>
          <a:blip r:embed="rId1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100829" y="1585266"/>
            <a:ext cx="811119" cy="811119"/>
          </a:xfrm>
          <a:prstGeom prst="rect">
            <a:avLst/>
          </a:prstGeom>
        </p:spPr>
      </p:pic>
      <p:cxnSp>
        <p:nvCxnSpPr>
          <p:cNvPr id="40" name="Straight Connector 39"/>
          <p:cNvCxnSpPr/>
          <p:nvPr/>
        </p:nvCxnSpPr>
        <p:spPr>
          <a:xfrm flipV="1">
            <a:off x="5542661" y="2970825"/>
            <a:ext cx="783809" cy="279045"/>
          </a:xfrm>
          <a:prstGeom prst="line">
            <a:avLst/>
          </a:prstGeom>
          <a:ln>
            <a:solidFill>
              <a:schemeClr val="tx1"/>
            </a:solidFill>
            <a:tailEnd type="stealth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pic>
        <p:nvPicPr>
          <p:cNvPr id="42" name="Picture 41"/>
          <p:cNvPicPr>
            <a:picLocks noChangeAspect="1"/>
          </p:cNvPicPr>
          <p:nvPr/>
        </p:nvPicPr>
        <p:blipFill>
          <a:blip r:embed="rId1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80354" y="2605071"/>
            <a:ext cx="784310" cy="784310"/>
          </a:xfrm>
          <a:prstGeom prst="rect">
            <a:avLst/>
          </a:prstGeom>
        </p:spPr>
      </p:pic>
      <p:pic>
        <p:nvPicPr>
          <p:cNvPr id="69" name="Picture 68"/>
          <p:cNvPicPr>
            <a:picLocks noChangeAspect="1"/>
          </p:cNvPicPr>
          <p:nvPr/>
        </p:nvPicPr>
        <p:blipFill>
          <a:blip r:embed="rId1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83414" y="1751877"/>
            <a:ext cx="509954" cy="509954"/>
          </a:xfrm>
          <a:prstGeom prst="rect">
            <a:avLst/>
          </a:prstGeom>
        </p:spPr>
      </p:pic>
      <p:sp>
        <p:nvSpPr>
          <p:cNvPr id="70" name="TextBox 69"/>
          <p:cNvSpPr txBox="1"/>
          <p:nvPr/>
        </p:nvSpPr>
        <p:spPr>
          <a:xfrm>
            <a:off x="4736630" y="2196352"/>
            <a:ext cx="160352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>
                <a:solidFill>
                  <a:schemeClr val="accent3">
                    <a:lumMod val="50000"/>
                  </a:schemeClr>
                </a:solidFill>
              </a:rPr>
              <a:t>Validated </a:t>
            </a:r>
            <a:r>
              <a:rPr lang="en-US" sz="1200" b="1">
                <a:solidFill>
                  <a:schemeClr val="accent3">
                    <a:lumMod val="50000"/>
                  </a:schemeClr>
                </a:solidFill>
              </a:rPr>
              <a:t>as “</a:t>
            </a:r>
            <a:r>
              <a:rPr lang="en-US" sz="1200" b="1" dirty="0">
                <a:solidFill>
                  <a:schemeClr val="accent3">
                    <a:lumMod val="50000"/>
                  </a:schemeClr>
                </a:solidFill>
              </a:rPr>
              <a:t>honest” part of chain</a:t>
            </a:r>
          </a:p>
        </p:txBody>
      </p:sp>
      <p:pic>
        <p:nvPicPr>
          <p:cNvPr id="73" name="Picture 72"/>
          <p:cNvPicPr>
            <a:picLocks noChangeAspect="1"/>
          </p:cNvPicPr>
          <p:nvPr/>
        </p:nvPicPr>
        <p:blipFill>
          <a:blip r:embed="rId1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34" y="2763502"/>
            <a:ext cx="938896" cy="938896"/>
          </a:xfrm>
          <a:prstGeom prst="rect">
            <a:avLst/>
          </a:prstGeom>
        </p:spPr>
      </p:pic>
      <p:pic>
        <p:nvPicPr>
          <p:cNvPr id="71" name="Picture 70"/>
          <p:cNvPicPr>
            <a:picLocks noChangeAspect="1"/>
          </p:cNvPicPr>
          <p:nvPr/>
        </p:nvPicPr>
        <p:blipFill>
          <a:blip r:embed="rId1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93870" y="3313311"/>
            <a:ext cx="471390" cy="471390"/>
          </a:xfrm>
          <a:prstGeom prst="rect">
            <a:avLst/>
          </a:prstGeom>
        </p:spPr>
      </p:pic>
      <p:sp>
        <p:nvSpPr>
          <p:cNvPr id="74" name="TextBox 73"/>
          <p:cNvSpPr txBox="1"/>
          <p:nvPr/>
        </p:nvSpPr>
        <p:spPr>
          <a:xfrm>
            <a:off x="4709169" y="3782759"/>
            <a:ext cx="160352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>
                <a:solidFill>
                  <a:srgbClr val="FF0000"/>
                </a:solidFill>
              </a:rPr>
              <a:t>Rejected</a:t>
            </a:r>
            <a:endParaRPr lang="en-US" sz="1200" b="1" dirty="0">
              <a:solidFill>
                <a:srgbClr val="FF0000"/>
              </a:solidFill>
            </a:endParaRPr>
          </a:p>
        </p:txBody>
      </p:sp>
      <p:sp>
        <p:nvSpPr>
          <p:cNvPr id="78" name="Rectangle 77"/>
          <p:cNvSpPr/>
          <p:nvPr/>
        </p:nvSpPr>
        <p:spPr>
          <a:xfrm>
            <a:off x="6372801" y="3709629"/>
            <a:ext cx="2583067" cy="1106130"/>
          </a:xfrm>
          <a:prstGeom prst="rect">
            <a:avLst/>
          </a:prstGeom>
          <a:ln w="12700">
            <a:solidFill>
              <a:schemeClr val="accent1"/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9" name="Rectangle 78"/>
          <p:cNvSpPr/>
          <p:nvPr>
            <p:custDataLst>
              <p:tags r:id="rId3"/>
            </p:custDataLst>
          </p:nvPr>
        </p:nvSpPr>
        <p:spPr>
          <a:xfrm>
            <a:off x="6418711" y="3776536"/>
            <a:ext cx="2636110" cy="954107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r>
              <a:rPr lang="en-US" sz="1400" b="1" dirty="0">
                <a:latin typeface="Calibri Light" pitchFamily="34" charset="0"/>
              </a:rPr>
              <a:t>Hybrid/Public Blockchain:  </a:t>
            </a:r>
            <a:r>
              <a:rPr lang="en-US" sz="1400" dirty="0">
                <a:latin typeface="Calibri Light" pitchFamily="34" charset="0"/>
              </a:rPr>
              <a:t>Added transparency to consumer level.  Consumers can self-verify provenance and e-pedigree</a:t>
            </a:r>
            <a:endParaRPr lang="en-US" sz="1050" dirty="0">
              <a:solidFill>
                <a:schemeClr val="bg1"/>
              </a:solidFill>
              <a:latin typeface="Calibri Light" pitchFamily="34" charset="0"/>
            </a:endParaRPr>
          </a:p>
        </p:txBody>
      </p:sp>
      <p:pic>
        <p:nvPicPr>
          <p:cNvPr id="96" name="Picture 95"/>
          <p:cNvPicPr>
            <a:picLocks noChangeAspect="1"/>
          </p:cNvPicPr>
          <p:nvPr/>
        </p:nvPicPr>
        <p:blipFill>
          <a:blip r:embed="rId2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173337" y="1837687"/>
            <a:ext cx="541041" cy="541041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2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86174" y="459588"/>
            <a:ext cx="2150456" cy="569657"/>
          </a:xfrm>
          <a:prstGeom prst="rect">
            <a:avLst/>
          </a:prstGeom>
        </p:spPr>
      </p:pic>
      <p:cxnSp>
        <p:nvCxnSpPr>
          <p:cNvPr id="11" name="Elbow Connector 10"/>
          <p:cNvCxnSpPr/>
          <p:nvPr/>
        </p:nvCxnSpPr>
        <p:spPr>
          <a:xfrm rot="5400000" flipH="1" flipV="1">
            <a:off x="2147823" y="1343199"/>
            <a:ext cx="1219976" cy="592068"/>
          </a:xfrm>
          <a:prstGeom prst="bentConnector3">
            <a:avLst/>
          </a:prstGeom>
          <a:ln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/>
          <p:cNvCxnSpPr/>
          <p:nvPr/>
        </p:nvCxnSpPr>
        <p:spPr>
          <a:xfrm>
            <a:off x="5576215" y="1653634"/>
            <a:ext cx="1571053" cy="267814"/>
          </a:xfrm>
          <a:prstGeom prst="line">
            <a:avLst/>
          </a:prstGeom>
          <a:ln>
            <a:solidFill>
              <a:schemeClr val="tx1"/>
            </a:solidFill>
            <a:prstDash val="sys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4" name="Straight Connector 43"/>
          <p:cNvCxnSpPr>
            <a:stCxn id="69" idx="3"/>
          </p:cNvCxnSpPr>
          <p:nvPr/>
        </p:nvCxnSpPr>
        <p:spPr>
          <a:xfrm>
            <a:off x="5793368" y="2006854"/>
            <a:ext cx="812859" cy="650042"/>
          </a:xfrm>
          <a:prstGeom prst="line">
            <a:avLst/>
          </a:prstGeom>
          <a:ln>
            <a:solidFill>
              <a:schemeClr val="tx1"/>
            </a:solidFill>
            <a:prstDash val="sys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3" name="Picture 2"/>
          <p:cNvPicPr>
            <a:picLocks noChangeAspect="1"/>
          </p:cNvPicPr>
          <p:nvPr/>
        </p:nvPicPr>
        <p:blipFill>
          <a:blip r:embed="rId2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19102" y="2620761"/>
            <a:ext cx="768620" cy="768620"/>
          </a:xfrm>
          <a:prstGeom prst="rect">
            <a:avLst/>
          </a:prstGeom>
        </p:spPr>
      </p:pic>
      <p:cxnSp>
        <p:nvCxnSpPr>
          <p:cNvPr id="45" name="Straight Connector 44"/>
          <p:cNvCxnSpPr/>
          <p:nvPr/>
        </p:nvCxnSpPr>
        <p:spPr>
          <a:xfrm>
            <a:off x="5560875" y="1791086"/>
            <a:ext cx="2269714" cy="1019172"/>
          </a:xfrm>
          <a:prstGeom prst="line">
            <a:avLst/>
          </a:prstGeom>
          <a:ln>
            <a:solidFill>
              <a:schemeClr val="tx1"/>
            </a:solidFill>
            <a:prstDash val="sys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190338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2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7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2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7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30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33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4" fill="hold">
                      <p:stCondLst>
                        <p:cond delay="indefinite"/>
                      </p:stCondLst>
                      <p:childTnLst>
                        <p:par>
                          <p:cTn id="35" fill="hold">
                            <p:stCondLst>
                              <p:cond delay="0"/>
                            </p:stCondLst>
                            <p:childTnLst>
                              <p:par>
                                <p:cTn id="36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38" dur="500"/>
                                        <p:tgtEl>
                                          <p:spTgt spid="9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43" dur="500"/>
                                        <p:tgtEl>
                                          <p:spTgt spid="7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46" dur="500"/>
                                        <p:tgtEl>
                                          <p:spTgt spid="7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9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dissolve">
                                      <p:cBhvr>
                                        <p:cTn id="50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2" presetID="9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dissolve">
                                      <p:cBhvr>
                                        <p:cTn id="53" dur="500"/>
                                        <p:tgtEl>
                                          <p:spTgt spid="7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5" presetID="9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dissolve">
                                      <p:cBhvr>
                                        <p:cTn id="56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8" presetID="9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dissolve">
                                      <p:cBhvr>
                                        <p:cTn id="59" dur="500"/>
                                        <p:tgtEl>
                                          <p:spTgt spid="7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1" presetID="9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dissolve">
                                      <p:cBhvr>
                                        <p:cTn id="62" dur="500"/>
                                        <p:tgtEl>
                                          <p:spTgt spid="7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4" grpId="0"/>
      <p:bldP spid="78" grpId="0" animBg="1"/>
      <p:bldP spid="79" grpId="0"/>
    </p:bld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" name="Object 2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321" name="think-cell Slide" r:id="rId10" imgW="270" imgH="270" progId="TCLayout.ActiveDocument.1">
                  <p:embed/>
                </p:oleObj>
              </mc:Choice>
              <mc:Fallback>
                <p:oleObj name="think-cell Slide" r:id="rId10" imgW="270" imgH="270" progId="TCLayout.ActiveDocument.1">
                  <p:embed/>
                  <p:pic>
                    <p:nvPicPr>
                      <p:cNvPr id="25" name="Object 24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4"/>
          <p:cNvSpPr>
            <a:spLocks noChangeArrowheads="1"/>
          </p:cNvSpPr>
          <p:nvPr/>
        </p:nvSpPr>
        <p:spPr bwMode="gray">
          <a:xfrm>
            <a:off x="261168" y="738301"/>
            <a:ext cx="5357709" cy="26908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defTabSz="601266"/>
            <a:r>
              <a:rPr lang="en-US" dirty="0">
                <a:solidFill>
                  <a:srgbClr val="171717"/>
                </a:solidFill>
              </a:rPr>
              <a:t>Key strengths of BC as a unifying solution </a:t>
            </a:r>
          </a:p>
        </p:txBody>
      </p:sp>
      <p:sp>
        <p:nvSpPr>
          <p:cNvPr id="13" name="Rectangle 5"/>
          <p:cNvSpPr txBox="1">
            <a:spLocks noChangeArrowheads="1"/>
          </p:cNvSpPr>
          <p:nvPr/>
        </p:nvSpPr>
        <p:spPr bwMode="gray">
          <a:xfrm>
            <a:off x="265613" y="269102"/>
            <a:ext cx="6768797" cy="45005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rIns="0" anchor="ctr"/>
          <a:lstStyle/>
          <a:p>
            <a:pPr defTabSz="685800" eaLnBrk="0" hangingPunct="0">
              <a:lnSpc>
                <a:spcPct val="95000"/>
              </a:lnSpc>
            </a:pPr>
            <a:r>
              <a:rPr lang="en-US" sz="2800" b="1" dirty="0">
                <a:solidFill>
                  <a:srgbClr val="171717"/>
                </a:solidFill>
              </a:rPr>
              <a:t>Benefits of Pharma [Block]chain?</a:t>
            </a:r>
          </a:p>
        </p:txBody>
      </p:sp>
      <p:sp>
        <p:nvSpPr>
          <p:cNvPr id="15" name="Rectangle 14"/>
          <p:cNvSpPr/>
          <p:nvPr/>
        </p:nvSpPr>
        <p:spPr>
          <a:xfrm>
            <a:off x="265615" y="1141924"/>
            <a:ext cx="8562361" cy="1732740"/>
          </a:xfrm>
          <a:prstGeom prst="rect">
            <a:avLst/>
          </a:prstGeom>
          <a:solidFill>
            <a:srgbClr val="F278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Rectangle 19"/>
          <p:cNvSpPr/>
          <p:nvPr/>
        </p:nvSpPr>
        <p:spPr>
          <a:xfrm>
            <a:off x="2009940" y="2382723"/>
            <a:ext cx="1511066" cy="253916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ctr">
              <a:defRPr/>
            </a:pPr>
            <a:r>
              <a:rPr lang="en-US" sz="1050" b="1" dirty="0">
                <a:solidFill>
                  <a:schemeClr val="bg1"/>
                </a:solidFill>
                <a:latin typeface="Calibri Light" panose="020F0302020204030204" pitchFamily="34" charset="0"/>
              </a:rPr>
              <a:t>SECURITY</a:t>
            </a:r>
          </a:p>
        </p:txBody>
      </p:sp>
      <p:sp>
        <p:nvSpPr>
          <p:cNvPr id="21" name="Rectangle 20"/>
          <p:cNvSpPr/>
          <p:nvPr/>
        </p:nvSpPr>
        <p:spPr>
          <a:xfrm>
            <a:off x="3675395" y="2382403"/>
            <a:ext cx="1511066" cy="415498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ctr">
              <a:defRPr/>
            </a:pPr>
            <a:r>
              <a:rPr lang="en-US" sz="1050" b="1" dirty="0">
                <a:solidFill>
                  <a:schemeClr val="bg1"/>
                </a:solidFill>
                <a:latin typeface="Calibri Light" panose="020F0302020204030204" pitchFamily="34" charset="0"/>
              </a:rPr>
              <a:t>INTEROPERABILITY AND ANALYSIS</a:t>
            </a:r>
          </a:p>
        </p:txBody>
      </p:sp>
      <p:sp>
        <p:nvSpPr>
          <p:cNvPr id="22" name="Rectangle 21"/>
          <p:cNvSpPr/>
          <p:nvPr/>
        </p:nvSpPr>
        <p:spPr>
          <a:xfrm>
            <a:off x="5391500" y="2382723"/>
            <a:ext cx="1511066" cy="253916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ctr">
              <a:defRPr/>
            </a:pPr>
            <a:r>
              <a:rPr lang="en-US" sz="1050" b="1" dirty="0">
                <a:solidFill>
                  <a:schemeClr val="bg1"/>
                </a:solidFill>
                <a:latin typeface="Calibri Light" panose="020F0302020204030204" pitchFamily="34" charset="0"/>
              </a:rPr>
              <a:t>GLOBAL SOLUTION?</a:t>
            </a:r>
          </a:p>
        </p:txBody>
      </p:sp>
      <p:sp>
        <p:nvSpPr>
          <p:cNvPr id="23" name="Rectangle 22"/>
          <p:cNvSpPr/>
          <p:nvPr>
            <p:custDataLst>
              <p:tags r:id="rId3"/>
            </p:custDataLst>
          </p:nvPr>
        </p:nvSpPr>
        <p:spPr>
          <a:xfrm>
            <a:off x="1926082" y="3070303"/>
            <a:ext cx="1599713" cy="1446550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ctr"/>
            <a:r>
              <a:rPr lang="en-US" sz="1100" dirty="0">
                <a:solidFill>
                  <a:schemeClr val="tx2">
                    <a:lumMod val="10000"/>
                  </a:schemeClr>
                </a:solidFill>
                <a:latin typeface="Calibri Light" pitchFamily="34" charset="0"/>
              </a:rPr>
              <a:t>Would enable a “shared” ledger of transparent, verified and secure public and private track and trace data from manufacturer </a:t>
            </a:r>
            <a:r>
              <a:rPr lang="en-US" sz="1100" dirty="0">
                <a:solidFill>
                  <a:schemeClr val="tx2">
                    <a:lumMod val="10000"/>
                  </a:schemeClr>
                </a:solidFill>
                <a:latin typeface="Calibri Light" pitchFamily="34" charset="0"/>
                <a:sym typeface="Wingdings"/>
              </a:rPr>
              <a:t> distributor  point of dispensing  patient</a:t>
            </a:r>
            <a:endParaRPr lang="en-US" sz="1100" dirty="0">
              <a:solidFill>
                <a:schemeClr val="tx2">
                  <a:lumMod val="10000"/>
                </a:schemeClr>
              </a:solidFill>
              <a:latin typeface="Calibri Light" pitchFamily="34" charset="0"/>
            </a:endParaRPr>
          </a:p>
        </p:txBody>
      </p:sp>
      <p:sp>
        <p:nvSpPr>
          <p:cNvPr id="24" name="Rectangle 23"/>
          <p:cNvSpPr/>
          <p:nvPr>
            <p:custDataLst>
              <p:tags r:id="rId4"/>
            </p:custDataLst>
          </p:nvPr>
        </p:nvSpPr>
        <p:spPr>
          <a:xfrm>
            <a:off x="3536053" y="3070303"/>
            <a:ext cx="1650408" cy="1446550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ctr"/>
            <a:r>
              <a:rPr lang="en-US" sz="1100" dirty="0">
                <a:solidFill>
                  <a:schemeClr val="tx2">
                    <a:lumMod val="10000"/>
                  </a:schemeClr>
                </a:solidFill>
                <a:latin typeface="Calibri Light" pitchFamily="34" charset="0"/>
              </a:rPr>
              <a:t>Could create publicly accessible data using open standards and allow for analysis in order to detect counterfeit drug infiltration, post alerts, and facilitate removal/recall  </a:t>
            </a:r>
          </a:p>
        </p:txBody>
      </p:sp>
      <p:sp>
        <p:nvSpPr>
          <p:cNvPr id="26" name="Rectangle 25"/>
          <p:cNvSpPr/>
          <p:nvPr>
            <p:custDataLst>
              <p:tags r:id="rId5"/>
            </p:custDataLst>
          </p:nvPr>
        </p:nvSpPr>
        <p:spPr>
          <a:xfrm>
            <a:off x="5334998" y="3064163"/>
            <a:ext cx="1611274" cy="1277273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ctr"/>
            <a:r>
              <a:rPr lang="en-US" sz="1100" dirty="0">
                <a:solidFill>
                  <a:schemeClr val="tx2">
                    <a:lumMod val="10000"/>
                  </a:schemeClr>
                </a:solidFill>
                <a:latin typeface="Calibri Light" pitchFamily="34" charset="0"/>
              </a:rPr>
              <a:t>Could lead to standardization and regulatory harmonization across multiple </a:t>
            </a:r>
            <a:r>
              <a:rPr lang="en-US" sz="1100">
                <a:solidFill>
                  <a:schemeClr val="tx2">
                    <a:lumMod val="10000"/>
                  </a:schemeClr>
                </a:solidFill>
                <a:latin typeface="Calibri Light" pitchFamily="34" charset="0"/>
              </a:rPr>
              <a:t>countries/regulators via </a:t>
            </a:r>
            <a:r>
              <a:rPr lang="en-US" sz="1100" dirty="0">
                <a:solidFill>
                  <a:schemeClr val="tx2">
                    <a:lumMod val="10000"/>
                  </a:schemeClr>
                </a:solidFill>
                <a:latin typeface="Calibri Light" pitchFamily="34" charset="0"/>
              </a:rPr>
              <a:t>shared international data exchange</a:t>
            </a:r>
          </a:p>
        </p:txBody>
      </p:sp>
      <p:sp>
        <p:nvSpPr>
          <p:cNvPr id="30" name="Rectangle 29"/>
          <p:cNvSpPr/>
          <p:nvPr/>
        </p:nvSpPr>
        <p:spPr>
          <a:xfrm>
            <a:off x="7034410" y="2371869"/>
            <a:ext cx="1511066" cy="253916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ctr">
              <a:defRPr/>
            </a:pPr>
            <a:r>
              <a:rPr lang="en-US" sz="1050" b="1" dirty="0">
                <a:solidFill>
                  <a:schemeClr val="bg1"/>
                </a:solidFill>
                <a:latin typeface="Calibri Light" panose="020F0302020204030204" pitchFamily="34" charset="0"/>
              </a:rPr>
              <a:t>POLICY RATIONALE</a:t>
            </a:r>
          </a:p>
        </p:txBody>
      </p:sp>
      <p:sp>
        <p:nvSpPr>
          <p:cNvPr id="31" name="Rectangle 30"/>
          <p:cNvSpPr/>
          <p:nvPr>
            <p:custDataLst>
              <p:tags r:id="rId6"/>
            </p:custDataLst>
          </p:nvPr>
        </p:nvSpPr>
        <p:spPr>
          <a:xfrm>
            <a:off x="6966787" y="3064164"/>
            <a:ext cx="1599713" cy="1277273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ctr"/>
            <a:r>
              <a:rPr lang="en-US" sz="1100" dirty="0">
                <a:solidFill>
                  <a:schemeClr val="tx2">
                    <a:lumMod val="10000"/>
                  </a:schemeClr>
                </a:solidFill>
                <a:latin typeface="Calibri Light" pitchFamily="34" charset="0"/>
              </a:rPr>
              <a:t>Policy instrument to support </a:t>
            </a:r>
            <a:r>
              <a:rPr lang="en-US" sz="1100" dirty="0" err="1">
                <a:solidFill>
                  <a:schemeClr val="tx2">
                    <a:lumMod val="10000"/>
                  </a:schemeClr>
                </a:solidFill>
                <a:latin typeface="Calibri Light" pitchFamily="34" charset="0"/>
              </a:rPr>
              <a:t>blockchain</a:t>
            </a:r>
            <a:r>
              <a:rPr lang="en-US" sz="1100" dirty="0">
                <a:solidFill>
                  <a:schemeClr val="tx2">
                    <a:lumMod val="10000"/>
                  </a:schemeClr>
                </a:solidFill>
                <a:latin typeface="Calibri Light" pitchFamily="34" charset="0"/>
              </a:rPr>
              <a:t> solutions as a already required under the DSCSA (added value and risk mitigation of technology)</a:t>
            </a:r>
          </a:p>
        </p:txBody>
      </p:sp>
      <p:pic>
        <p:nvPicPr>
          <p:cNvPr id="32" name="Picture 31"/>
          <p:cNvPicPr>
            <a:picLocks noChangeAspect="1"/>
          </p:cNvPicPr>
          <p:nvPr/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44863" y="1366899"/>
            <a:ext cx="898937" cy="898937"/>
          </a:xfrm>
          <a:prstGeom prst="rect">
            <a:avLst/>
          </a:prstGeom>
        </p:spPr>
      </p:pic>
      <p:pic>
        <p:nvPicPr>
          <p:cNvPr id="34" name="Picture 33"/>
          <p:cNvPicPr>
            <a:picLocks noChangeAspect="1"/>
          </p:cNvPicPr>
          <p:nvPr/>
        </p:nvPicPr>
        <p:blipFill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744167" y="1452611"/>
            <a:ext cx="792937" cy="792937"/>
          </a:xfrm>
          <a:prstGeom prst="rect">
            <a:avLst/>
          </a:prstGeom>
        </p:spPr>
      </p:pic>
      <p:pic>
        <p:nvPicPr>
          <p:cNvPr id="35" name="Picture 34"/>
          <p:cNvPicPr>
            <a:picLocks noChangeAspect="1"/>
          </p:cNvPicPr>
          <p:nvPr/>
        </p:nvPicPr>
        <p:blipFill>
          <a:blip r:embed="rId1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88498" y="1893493"/>
            <a:ext cx="506962" cy="474969"/>
          </a:xfrm>
          <a:prstGeom prst="rect">
            <a:avLst/>
          </a:prstGeom>
        </p:spPr>
      </p:pic>
      <p:pic>
        <p:nvPicPr>
          <p:cNvPr id="2" name="Picture 1"/>
          <p:cNvPicPr>
            <a:picLocks noChangeAspect="1"/>
          </p:cNvPicPr>
          <p:nvPr/>
        </p:nvPicPr>
        <p:blipFill>
          <a:blip r:embed="rId1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2911" y="1412060"/>
            <a:ext cx="915652" cy="915652"/>
          </a:xfrm>
          <a:prstGeom prst="rect">
            <a:avLst/>
          </a:prstGeom>
        </p:spPr>
      </p:pic>
      <p:sp>
        <p:nvSpPr>
          <p:cNvPr id="36" name="Rectangle 35"/>
          <p:cNvSpPr/>
          <p:nvPr/>
        </p:nvSpPr>
        <p:spPr>
          <a:xfrm>
            <a:off x="349815" y="2384150"/>
            <a:ext cx="1511066" cy="253916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ctr">
              <a:defRPr/>
            </a:pPr>
            <a:r>
              <a:rPr lang="en-US" sz="1050" b="1" dirty="0">
                <a:solidFill>
                  <a:schemeClr val="bg1"/>
                </a:solidFill>
                <a:latin typeface="Calibri Light" panose="020F0302020204030204" pitchFamily="34" charset="0"/>
              </a:rPr>
              <a:t>INTEGRATION</a:t>
            </a:r>
          </a:p>
        </p:txBody>
      </p:sp>
      <p:sp>
        <p:nvSpPr>
          <p:cNvPr id="37" name="Rectangle 36"/>
          <p:cNvSpPr/>
          <p:nvPr>
            <p:custDataLst>
              <p:tags r:id="rId7"/>
            </p:custDataLst>
          </p:nvPr>
        </p:nvSpPr>
        <p:spPr>
          <a:xfrm>
            <a:off x="261168" y="3089302"/>
            <a:ext cx="1599713" cy="1446550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ctr"/>
            <a:r>
              <a:rPr lang="en-US" sz="1100" dirty="0">
                <a:solidFill>
                  <a:schemeClr val="tx2">
                    <a:lumMod val="10000"/>
                  </a:schemeClr>
                </a:solidFill>
                <a:latin typeface="Calibri Light" pitchFamily="34" charset="0"/>
              </a:rPr>
              <a:t>Can be integrated into other anti-counterfeiting solutions and IoT: lab tests, holograms, QRC, RFID, e-pedigree solutions, NFC, scanning devices, mobile phones, smart contracts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1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11682" y="1416247"/>
            <a:ext cx="925892" cy="925892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1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918856" y="1464553"/>
            <a:ext cx="559827" cy="500407"/>
          </a:xfrm>
          <a:prstGeom prst="rect">
            <a:avLst/>
          </a:prstGeom>
        </p:spPr>
      </p:pic>
      <p:sp>
        <p:nvSpPr>
          <p:cNvPr id="27" name="Donut 26">
            <a:extLst>
              <a:ext uri="{FF2B5EF4-FFF2-40B4-BE49-F238E27FC236}">
                <a16:creationId xmlns:a16="http://schemas.microsoft.com/office/drawing/2014/main" id="{3631640D-E851-8E46-A99E-CA03474DDC5C}"/>
              </a:ext>
            </a:extLst>
          </p:cNvPr>
          <p:cNvSpPr/>
          <p:nvPr/>
        </p:nvSpPr>
        <p:spPr>
          <a:xfrm>
            <a:off x="6976021" y="2786952"/>
            <a:ext cx="1627844" cy="1735024"/>
          </a:xfrm>
          <a:prstGeom prst="donut">
            <a:avLst>
              <a:gd name="adj" fmla="val 3484"/>
            </a:avLst>
          </a:prstGeom>
          <a:solidFill>
            <a:srgbClr val="F50736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072918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7" grpId="0" animBg="1"/>
    </p:bld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Object 1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36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9" name="Object 18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7" name="TextBox 76"/>
          <p:cNvSpPr txBox="1"/>
          <p:nvPr/>
        </p:nvSpPr>
        <p:spPr>
          <a:xfrm>
            <a:off x="292360" y="220861"/>
            <a:ext cx="855928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80000"/>
              </a:lnSpc>
            </a:pPr>
            <a:r>
              <a:rPr lang="en-US" sz="3000" b="1" dirty="0"/>
              <a:t>BLOCKCHAIN AND DSCSA COMPATABILITY</a:t>
            </a:r>
          </a:p>
        </p:txBody>
      </p:sp>
      <p:cxnSp>
        <p:nvCxnSpPr>
          <p:cNvPr id="78" name="Straight Connector 77"/>
          <p:cNvCxnSpPr/>
          <p:nvPr/>
        </p:nvCxnSpPr>
        <p:spPr>
          <a:xfrm>
            <a:off x="2963340" y="666944"/>
            <a:ext cx="3302000" cy="0"/>
          </a:xfrm>
          <a:prstGeom prst="line">
            <a:avLst/>
          </a:prstGeom>
          <a:ln w="12700">
            <a:solidFill>
              <a:schemeClr val="tx1">
                <a:lumMod val="95000"/>
                <a:lumOff val="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6" name="Slide Number Placeholder 15"/>
          <p:cNvSpPr>
            <a:spLocks noGrp="1"/>
          </p:cNvSpPr>
          <p:nvPr>
            <p:ph type="sldNum" sz="quarter" idx="12"/>
          </p:nvPr>
        </p:nvSpPr>
        <p:spPr>
          <a:xfrm>
            <a:off x="11410" y="4798051"/>
            <a:ext cx="332185" cy="187039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algn="ctr" defTabSz="457200" rtl="0" fontAlgn="auto">
              <a:spcBef>
                <a:spcPts val="0"/>
              </a:spcBef>
              <a:spcAft>
                <a:spcPts val="0"/>
              </a:spcAft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2pPr>
            <a:lvl3pPr marL="9144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3pPr>
            <a:lvl4pPr marL="13716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4pPr>
            <a:lvl5pPr marL="18288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5pPr>
            <a:lvl6pPr marL="2286000" algn="l" defTabSz="457200" rtl="0" eaLnBrk="1" latinLnBrk="0" hangingPunct="1">
              <a:defRPr kern="12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6pPr>
            <a:lvl7pPr marL="2743200" algn="l" defTabSz="457200" rtl="0" eaLnBrk="1" latinLnBrk="0" hangingPunct="1">
              <a:defRPr kern="12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7pPr>
            <a:lvl8pPr marL="3200400" algn="l" defTabSz="457200" rtl="0" eaLnBrk="1" latinLnBrk="0" hangingPunct="1">
              <a:defRPr kern="12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8pPr>
            <a:lvl9pPr marL="3657600" algn="l" defTabSz="457200" rtl="0" eaLnBrk="1" latinLnBrk="0" hangingPunct="1">
              <a:defRPr kern="12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9pPr>
          </a:lstStyle>
          <a:p>
            <a:fld id="{EA72F2ED-C0F1-A14B-BA46-C5847C658EB2}" type="slidenum">
              <a:rPr lang="en-US" smtClean="0"/>
              <a:pPr/>
              <a:t>26</a:t>
            </a:fld>
            <a:endParaRPr lang="en-US" dirty="0"/>
          </a:p>
        </p:txBody>
      </p:sp>
      <p:graphicFrame>
        <p:nvGraphicFramePr>
          <p:cNvPr id="17" name="Table 16"/>
          <p:cNvGraphicFramePr>
            <a:graphicFrameLocks noGrp="1"/>
          </p:cNvGraphicFramePr>
          <p:nvPr/>
        </p:nvGraphicFramePr>
        <p:xfrm>
          <a:off x="224721" y="937470"/>
          <a:ext cx="8626919" cy="311344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35674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83947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430693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46548"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>
                          <a:latin typeface="Arial" charset="0"/>
                          <a:ea typeface="Arial" charset="0"/>
                          <a:cs typeface="Arial" charset="0"/>
                        </a:rPr>
                        <a:t>Key Requirements</a:t>
                      </a:r>
                    </a:p>
                  </a:txBody>
                  <a:tcPr marT="34290" marB="34290" anchor="ctr"/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>
                          <a:latin typeface="Arial" charset="0"/>
                          <a:ea typeface="Arial" charset="0"/>
                          <a:cs typeface="Arial" charset="0"/>
                        </a:rPr>
                        <a:t>Applicability</a:t>
                      </a:r>
                    </a:p>
                  </a:txBody>
                  <a:tcPr marT="34290" marB="34290" anchor="ctr"/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>
                          <a:latin typeface="Arial" charset="0"/>
                          <a:ea typeface="Arial" charset="0"/>
                          <a:cs typeface="Arial" charset="0"/>
                        </a:rPr>
                        <a:t>Compatible?</a:t>
                      </a:r>
                    </a:p>
                  </a:txBody>
                  <a:tcPr marT="34290" marB="34290"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61149">
                <a:tc>
                  <a:txBody>
                    <a:bodyPr/>
                    <a:lstStyle/>
                    <a:p>
                      <a:r>
                        <a:rPr lang="en-US" sz="1400" b="1" dirty="0">
                          <a:latin typeface="Arial" charset="0"/>
                          <a:ea typeface="Arial" charset="0"/>
                          <a:cs typeface="Arial" charset="0"/>
                        </a:rPr>
                        <a:t>Product identification</a:t>
                      </a:r>
                    </a:p>
                  </a:txBody>
                  <a:tcPr marT="34290" marB="34290" anchor="ctr"/>
                </a:tc>
                <a:tc>
                  <a:txBody>
                    <a:bodyPr/>
                    <a:lstStyle/>
                    <a:p>
                      <a:r>
                        <a:rPr lang="en-US" sz="1200" dirty="0">
                          <a:latin typeface="Arial" charset="0"/>
                          <a:ea typeface="Arial" charset="0"/>
                          <a:cs typeface="Arial" charset="0"/>
                        </a:rPr>
                        <a:t>Unique product identifier can be required</a:t>
                      </a:r>
                      <a:r>
                        <a:rPr lang="en-US" sz="1200" baseline="0" dirty="0">
                          <a:latin typeface="Arial" charset="0"/>
                          <a:ea typeface="Arial" charset="0"/>
                          <a:cs typeface="Arial" charset="0"/>
                        </a:rPr>
                        <a:t> contributed information validated as a side chain</a:t>
                      </a:r>
                      <a:endParaRPr lang="en-US" sz="1200" b="0" dirty="0"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T="34290" marB="34290" anchor="ctr"/>
                </a:tc>
                <a:tc>
                  <a:txBody>
                    <a:bodyPr/>
                    <a:lstStyle/>
                    <a:p>
                      <a:endParaRPr lang="en-US" sz="1600" b="0" dirty="0"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T="34290" marB="34290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61149">
                <a:tc>
                  <a:txBody>
                    <a:bodyPr/>
                    <a:lstStyle/>
                    <a:p>
                      <a:r>
                        <a:rPr lang="en-US" sz="1400" b="1" dirty="0">
                          <a:latin typeface="Arial" charset="0"/>
                          <a:ea typeface="Arial" charset="0"/>
                          <a:cs typeface="Arial" charset="0"/>
                        </a:rPr>
                        <a:t>Product tracing</a:t>
                      </a:r>
                    </a:p>
                  </a:txBody>
                  <a:tcPr marT="34290" marB="34290" anchor="ctr"/>
                </a:tc>
                <a:tc>
                  <a:txBody>
                    <a:bodyPr/>
                    <a:lstStyle/>
                    <a:p>
                      <a:r>
                        <a:rPr lang="en-US" sz="1200" dirty="0">
                          <a:latin typeface="Arial" charset="0"/>
                          <a:ea typeface="Arial" charset="0"/>
                          <a:cs typeface="Arial" charset="0"/>
                        </a:rPr>
                        <a:t>Allows</a:t>
                      </a:r>
                      <a:r>
                        <a:rPr lang="en-US" sz="1200" baseline="0" dirty="0">
                          <a:latin typeface="Arial" charset="0"/>
                          <a:ea typeface="Arial" charset="0"/>
                          <a:cs typeface="Arial" charset="0"/>
                        </a:rPr>
                        <a:t> manufacturers, distributors and dispensers to provide tracing information in shared ledger</a:t>
                      </a:r>
                      <a:endParaRPr lang="en-US" sz="1200" b="0" dirty="0"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T="34290" marB="34290" anchor="ctr"/>
                </a:tc>
                <a:tc>
                  <a:txBody>
                    <a:bodyPr/>
                    <a:lstStyle/>
                    <a:p>
                      <a:endParaRPr lang="en-US" sz="1600" b="0" dirty="0"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T="34290" marB="34290"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61149">
                <a:tc>
                  <a:txBody>
                    <a:bodyPr/>
                    <a:lstStyle/>
                    <a:p>
                      <a:r>
                        <a:rPr lang="en-US" sz="1400" b="1" dirty="0">
                          <a:latin typeface="Arial" charset="0"/>
                          <a:ea typeface="Arial" charset="0"/>
                          <a:cs typeface="Arial" charset="0"/>
                        </a:rPr>
                        <a:t>Product verification</a:t>
                      </a:r>
                    </a:p>
                  </a:txBody>
                  <a:tcPr marT="34290" marB="34290" anchor="ctr"/>
                </a:tc>
                <a:tc>
                  <a:txBody>
                    <a:bodyPr/>
                    <a:lstStyle/>
                    <a:p>
                      <a:r>
                        <a:rPr lang="en-US" sz="1200" dirty="0">
                          <a:latin typeface="Arial" charset="0"/>
                          <a:ea typeface="Arial" charset="0"/>
                          <a:cs typeface="Arial" charset="0"/>
                        </a:rPr>
                        <a:t>Creates system and open solution to verify product identifier and other contributed</a:t>
                      </a:r>
                      <a:r>
                        <a:rPr lang="en-US" sz="1200" baseline="0" dirty="0">
                          <a:latin typeface="Arial" charset="0"/>
                          <a:ea typeface="Arial" charset="0"/>
                          <a:cs typeface="Arial" charset="0"/>
                        </a:rPr>
                        <a:t> information</a:t>
                      </a:r>
                      <a:endParaRPr lang="en-US" sz="1200" b="0" dirty="0"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T="34290" marB="34290" anchor="ctr"/>
                </a:tc>
                <a:tc>
                  <a:txBody>
                    <a:bodyPr/>
                    <a:lstStyle/>
                    <a:p>
                      <a:endParaRPr lang="en-US" sz="1600" b="0" dirty="0"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T="34290" marB="34290" anchor="ctr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61149">
                <a:tc>
                  <a:txBody>
                    <a:bodyPr/>
                    <a:lstStyle/>
                    <a:p>
                      <a:r>
                        <a:rPr lang="en-US" sz="1400" b="1" dirty="0">
                          <a:latin typeface="Arial" charset="0"/>
                          <a:ea typeface="Arial" charset="0"/>
                          <a:cs typeface="Arial" charset="0"/>
                        </a:rPr>
                        <a:t>Detection and response</a:t>
                      </a:r>
                    </a:p>
                  </a:txBody>
                  <a:tcPr marT="34290" marB="34290" anchor="ctr"/>
                </a:tc>
                <a:tc>
                  <a:txBody>
                    <a:bodyPr/>
                    <a:lstStyle/>
                    <a:p>
                      <a:r>
                        <a:rPr lang="en-US" sz="1200" dirty="0">
                          <a:latin typeface="Arial" charset="0"/>
                          <a:ea typeface="Arial" charset="0"/>
                          <a:cs typeface="Arial" charset="0"/>
                        </a:rPr>
                        <a:t>Allows</a:t>
                      </a:r>
                      <a:r>
                        <a:rPr lang="en-US" sz="1200" baseline="0" dirty="0">
                          <a:latin typeface="Arial" charset="0"/>
                          <a:ea typeface="Arial" charset="0"/>
                          <a:cs typeface="Arial" charset="0"/>
                        </a:rPr>
                        <a:t> public and private actors to report and detect drugs suspected as counterfeit, unapproved, or dangerous</a:t>
                      </a:r>
                      <a:endParaRPr lang="en-US" sz="1200" b="0" dirty="0"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T="34290" marB="34290" anchor="ctr"/>
                </a:tc>
                <a:tc>
                  <a:txBody>
                    <a:bodyPr/>
                    <a:lstStyle/>
                    <a:p>
                      <a:endParaRPr lang="en-US" sz="1600" b="0" dirty="0"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T="34290" marB="34290" anchor="ctr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461149">
                <a:tc>
                  <a:txBody>
                    <a:bodyPr/>
                    <a:lstStyle/>
                    <a:p>
                      <a:r>
                        <a:rPr lang="en-US" sz="1400" b="1" dirty="0">
                          <a:latin typeface="Arial" charset="0"/>
                          <a:ea typeface="Arial" charset="0"/>
                          <a:cs typeface="Arial" charset="0"/>
                        </a:rPr>
                        <a:t>Notification</a:t>
                      </a:r>
                    </a:p>
                  </a:txBody>
                  <a:tcPr marT="34290" marB="34290" anchor="ctr"/>
                </a:tc>
                <a:tc>
                  <a:txBody>
                    <a:bodyPr/>
                    <a:lstStyle/>
                    <a:p>
                      <a:r>
                        <a:rPr lang="en-US" sz="1200" b="0" dirty="0">
                          <a:latin typeface="Arial" charset="0"/>
                          <a:ea typeface="Arial" charset="0"/>
                          <a:cs typeface="Arial" charset="0"/>
                        </a:rPr>
                        <a:t>Creates shared</a:t>
                      </a:r>
                      <a:r>
                        <a:rPr lang="en-US" sz="1200" b="0" baseline="0" dirty="0">
                          <a:latin typeface="Arial" charset="0"/>
                          <a:ea typeface="Arial" charset="0"/>
                          <a:cs typeface="Arial" charset="0"/>
                        </a:rPr>
                        <a:t> system to notify FDA and other stakeholders if an illegitimate drug is found</a:t>
                      </a:r>
                      <a:endParaRPr lang="en-US" sz="1200" b="0" dirty="0"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T="34290" marB="34290" anchor="ctr"/>
                </a:tc>
                <a:tc>
                  <a:txBody>
                    <a:bodyPr/>
                    <a:lstStyle/>
                    <a:p>
                      <a:endParaRPr lang="en-US" sz="1600" b="0" dirty="0"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T="34290" marB="34290" anchor="ctr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461149">
                <a:tc>
                  <a:txBody>
                    <a:bodyPr/>
                    <a:lstStyle/>
                    <a:p>
                      <a:r>
                        <a:rPr lang="en-US" sz="1400" b="1" dirty="0">
                          <a:latin typeface="Arial" charset="0"/>
                          <a:ea typeface="Arial" charset="0"/>
                          <a:cs typeface="Arial" charset="0"/>
                        </a:rPr>
                        <a:t>Information requirement</a:t>
                      </a:r>
                    </a:p>
                  </a:txBody>
                  <a:tcPr marT="34290" marB="34290" anchor="ctr"/>
                </a:tc>
                <a:tc>
                  <a:txBody>
                    <a:bodyPr/>
                    <a:lstStyle/>
                    <a:p>
                      <a:r>
                        <a:rPr lang="en-US" sz="1200" b="0" dirty="0">
                          <a:latin typeface="Arial" charset="0"/>
                          <a:ea typeface="Arial" charset="0"/>
                          <a:cs typeface="Arial" charset="0"/>
                        </a:rPr>
                        <a:t>Can create shared ledger of product</a:t>
                      </a:r>
                      <a:r>
                        <a:rPr lang="en-US" sz="1200" b="0" baseline="0" dirty="0">
                          <a:latin typeface="Arial" charset="0"/>
                          <a:ea typeface="Arial" charset="0"/>
                          <a:cs typeface="Arial" charset="0"/>
                        </a:rPr>
                        <a:t> and transaction information including verification of licensure information</a:t>
                      </a:r>
                      <a:endParaRPr lang="en-US" sz="1200" b="0" dirty="0"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T="34290" marB="34290" anchor="ctr"/>
                </a:tc>
                <a:tc>
                  <a:txBody>
                    <a:bodyPr/>
                    <a:lstStyle/>
                    <a:p>
                      <a:endParaRPr lang="en-US" sz="1600" b="0" dirty="0"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T="34290" marB="34290" anchor="ctr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</a:tbl>
          </a:graphicData>
        </a:graphic>
      </p:graphicFrame>
      <p:sp>
        <p:nvSpPr>
          <p:cNvPr id="20" name="Rounded Rectangle 55"/>
          <p:cNvSpPr/>
          <p:nvPr/>
        </p:nvSpPr>
        <p:spPr>
          <a:xfrm rot="2633341">
            <a:off x="8016799" y="1299661"/>
            <a:ext cx="207588" cy="313160"/>
          </a:xfrm>
          <a:custGeom>
            <a:avLst/>
            <a:gdLst/>
            <a:ahLst/>
            <a:cxnLst/>
            <a:rect l="l" t="t" r="r" b="b"/>
            <a:pathLst>
              <a:path w="759702" h="1294053">
                <a:moveTo>
                  <a:pt x="443142" y="15934"/>
                </a:moveTo>
                <a:cubicBezTo>
                  <a:pt x="452987" y="6089"/>
                  <a:pt x="466588" y="0"/>
                  <a:pt x="481611" y="0"/>
                </a:cubicBezTo>
                <a:lnTo>
                  <a:pt x="699215" y="0"/>
                </a:lnTo>
                <a:cubicBezTo>
                  <a:pt x="729261" y="0"/>
                  <a:pt x="753618" y="24357"/>
                  <a:pt x="753618" y="54403"/>
                </a:cubicBezTo>
                <a:lnTo>
                  <a:pt x="753618" y="1001974"/>
                </a:lnTo>
                <a:cubicBezTo>
                  <a:pt x="754099" y="1002736"/>
                  <a:pt x="754137" y="1003532"/>
                  <a:pt x="754157" y="1004333"/>
                </a:cubicBezTo>
                <a:lnTo>
                  <a:pt x="759685" y="1221867"/>
                </a:lnTo>
                <a:cubicBezTo>
                  <a:pt x="759987" y="1233747"/>
                  <a:pt x="756458" y="1244833"/>
                  <a:pt x="749414" y="1253391"/>
                </a:cubicBezTo>
                <a:cubicBezTo>
                  <a:pt x="748782" y="1255097"/>
                  <a:pt x="748003" y="1256733"/>
                  <a:pt x="746493" y="1257970"/>
                </a:cubicBezTo>
                <a:cubicBezTo>
                  <a:pt x="746150" y="1259198"/>
                  <a:pt x="745375" y="1260060"/>
                  <a:pt x="744541" y="1260865"/>
                </a:cubicBezTo>
                <a:cubicBezTo>
                  <a:pt x="735754" y="1276749"/>
                  <a:pt x="718678" y="1286970"/>
                  <a:pt x="699215" y="1286970"/>
                </a:cubicBezTo>
                <a:lnTo>
                  <a:pt x="481611" y="1286970"/>
                </a:lnTo>
                <a:lnTo>
                  <a:pt x="465705" y="1283759"/>
                </a:lnTo>
                <a:lnTo>
                  <a:pt x="61314" y="1294036"/>
                </a:lnTo>
                <a:cubicBezTo>
                  <a:pt x="31277" y="1294800"/>
                  <a:pt x="6309" y="1271069"/>
                  <a:pt x="5546" y="1241033"/>
                </a:cubicBezTo>
                <a:lnTo>
                  <a:pt x="17" y="1023499"/>
                </a:lnTo>
                <a:cubicBezTo>
                  <a:pt x="-746" y="993463"/>
                  <a:pt x="22984" y="968495"/>
                  <a:pt x="53021" y="967732"/>
                </a:cubicBezTo>
                <a:lnTo>
                  <a:pt x="427208" y="958222"/>
                </a:lnTo>
                <a:lnTo>
                  <a:pt x="427208" y="54403"/>
                </a:lnTo>
                <a:cubicBezTo>
                  <a:pt x="427208" y="39380"/>
                  <a:pt x="433297" y="25779"/>
                  <a:pt x="443142" y="15934"/>
                </a:cubicBezTo>
                <a:close/>
              </a:path>
            </a:pathLst>
          </a:custGeom>
          <a:solidFill>
            <a:srgbClr val="507B0E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rial"/>
              <a:cs typeface="Arial"/>
            </a:endParaRPr>
          </a:p>
        </p:txBody>
      </p:sp>
      <p:sp>
        <p:nvSpPr>
          <p:cNvPr id="26" name="Rounded Rectangle 55"/>
          <p:cNvSpPr/>
          <p:nvPr/>
        </p:nvSpPr>
        <p:spPr>
          <a:xfrm rot="2633341">
            <a:off x="8016799" y="1749862"/>
            <a:ext cx="207588" cy="313160"/>
          </a:xfrm>
          <a:custGeom>
            <a:avLst/>
            <a:gdLst/>
            <a:ahLst/>
            <a:cxnLst/>
            <a:rect l="l" t="t" r="r" b="b"/>
            <a:pathLst>
              <a:path w="759702" h="1294053">
                <a:moveTo>
                  <a:pt x="443142" y="15934"/>
                </a:moveTo>
                <a:cubicBezTo>
                  <a:pt x="452987" y="6089"/>
                  <a:pt x="466588" y="0"/>
                  <a:pt x="481611" y="0"/>
                </a:cubicBezTo>
                <a:lnTo>
                  <a:pt x="699215" y="0"/>
                </a:lnTo>
                <a:cubicBezTo>
                  <a:pt x="729261" y="0"/>
                  <a:pt x="753618" y="24357"/>
                  <a:pt x="753618" y="54403"/>
                </a:cubicBezTo>
                <a:lnTo>
                  <a:pt x="753618" y="1001974"/>
                </a:lnTo>
                <a:cubicBezTo>
                  <a:pt x="754099" y="1002736"/>
                  <a:pt x="754137" y="1003532"/>
                  <a:pt x="754157" y="1004333"/>
                </a:cubicBezTo>
                <a:lnTo>
                  <a:pt x="759685" y="1221867"/>
                </a:lnTo>
                <a:cubicBezTo>
                  <a:pt x="759987" y="1233747"/>
                  <a:pt x="756458" y="1244833"/>
                  <a:pt x="749414" y="1253391"/>
                </a:cubicBezTo>
                <a:cubicBezTo>
                  <a:pt x="748782" y="1255097"/>
                  <a:pt x="748003" y="1256733"/>
                  <a:pt x="746493" y="1257970"/>
                </a:cubicBezTo>
                <a:cubicBezTo>
                  <a:pt x="746150" y="1259198"/>
                  <a:pt x="745375" y="1260060"/>
                  <a:pt x="744541" y="1260865"/>
                </a:cubicBezTo>
                <a:cubicBezTo>
                  <a:pt x="735754" y="1276749"/>
                  <a:pt x="718678" y="1286970"/>
                  <a:pt x="699215" y="1286970"/>
                </a:cubicBezTo>
                <a:lnTo>
                  <a:pt x="481611" y="1286970"/>
                </a:lnTo>
                <a:lnTo>
                  <a:pt x="465705" y="1283759"/>
                </a:lnTo>
                <a:lnTo>
                  <a:pt x="61314" y="1294036"/>
                </a:lnTo>
                <a:cubicBezTo>
                  <a:pt x="31277" y="1294800"/>
                  <a:pt x="6309" y="1271069"/>
                  <a:pt x="5546" y="1241033"/>
                </a:cubicBezTo>
                <a:lnTo>
                  <a:pt x="17" y="1023499"/>
                </a:lnTo>
                <a:cubicBezTo>
                  <a:pt x="-746" y="993463"/>
                  <a:pt x="22984" y="968495"/>
                  <a:pt x="53021" y="967732"/>
                </a:cubicBezTo>
                <a:lnTo>
                  <a:pt x="427208" y="958222"/>
                </a:lnTo>
                <a:lnTo>
                  <a:pt x="427208" y="54403"/>
                </a:lnTo>
                <a:cubicBezTo>
                  <a:pt x="427208" y="39380"/>
                  <a:pt x="433297" y="25779"/>
                  <a:pt x="443142" y="15934"/>
                </a:cubicBezTo>
                <a:close/>
              </a:path>
            </a:pathLst>
          </a:custGeom>
          <a:solidFill>
            <a:srgbClr val="507B0E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rial"/>
              <a:cs typeface="Arial"/>
            </a:endParaRPr>
          </a:p>
        </p:txBody>
      </p:sp>
      <p:sp>
        <p:nvSpPr>
          <p:cNvPr id="27" name="Rounded Rectangle 55"/>
          <p:cNvSpPr/>
          <p:nvPr/>
        </p:nvSpPr>
        <p:spPr>
          <a:xfrm rot="2633341">
            <a:off x="8016799" y="2204437"/>
            <a:ext cx="207588" cy="313160"/>
          </a:xfrm>
          <a:custGeom>
            <a:avLst/>
            <a:gdLst/>
            <a:ahLst/>
            <a:cxnLst/>
            <a:rect l="l" t="t" r="r" b="b"/>
            <a:pathLst>
              <a:path w="759702" h="1294053">
                <a:moveTo>
                  <a:pt x="443142" y="15934"/>
                </a:moveTo>
                <a:cubicBezTo>
                  <a:pt x="452987" y="6089"/>
                  <a:pt x="466588" y="0"/>
                  <a:pt x="481611" y="0"/>
                </a:cubicBezTo>
                <a:lnTo>
                  <a:pt x="699215" y="0"/>
                </a:lnTo>
                <a:cubicBezTo>
                  <a:pt x="729261" y="0"/>
                  <a:pt x="753618" y="24357"/>
                  <a:pt x="753618" y="54403"/>
                </a:cubicBezTo>
                <a:lnTo>
                  <a:pt x="753618" y="1001974"/>
                </a:lnTo>
                <a:cubicBezTo>
                  <a:pt x="754099" y="1002736"/>
                  <a:pt x="754137" y="1003532"/>
                  <a:pt x="754157" y="1004333"/>
                </a:cubicBezTo>
                <a:lnTo>
                  <a:pt x="759685" y="1221867"/>
                </a:lnTo>
                <a:cubicBezTo>
                  <a:pt x="759987" y="1233747"/>
                  <a:pt x="756458" y="1244833"/>
                  <a:pt x="749414" y="1253391"/>
                </a:cubicBezTo>
                <a:cubicBezTo>
                  <a:pt x="748782" y="1255097"/>
                  <a:pt x="748003" y="1256733"/>
                  <a:pt x="746493" y="1257970"/>
                </a:cubicBezTo>
                <a:cubicBezTo>
                  <a:pt x="746150" y="1259198"/>
                  <a:pt x="745375" y="1260060"/>
                  <a:pt x="744541" y="1260865"/>
                </a:cubicBezTo>
                <a:cubicBezTo>
                  <a:pt x="735754" y="1276749"/>
                  <a:pt x="718678" y="1286970"/>
                  <a:pt x="699215" y="1286970"/>
                </a:cubicBezTo>
                <a:lnTo>
                  <a:pt x="481611" y="1286970"/>
                </a:lnTo>
                <a:lnTo>
                  <a:pt x="465705" y="1283759"/>
                </a:lnTo>
                <a:lnTo>
                  <a:pt x="61314" y="1294036"/>
                </a:lnTo>
                <a:cubicBezTo>
                  <a:pt x="31277" y="1294800"/>
                  <a:pt x="6309" y="1271069"/>
                  <a:pt x="5546" y="1241033"/>
                </a:cubicBezTo>
                <a:lnTo>
                  <a:pt x="17" y="1023499"/>
                </a:lnTo>
                <a:cubicBezTo>
                  <a:pt x="-746" y="993463"/>
                  <a:pt x="22984" y="968495"/>
                  <a:pt x="53021" y="967732"/>
                </a:cubicBezTo>
                <a:lnTo>
                  <a:pt x="427208" y="958222"/>
                </a:lnTo>
                <a:lnTo>
                  <a:pt x="427208" y="54403"/>
                </a:lnTo>
                <a:cubicBezTo>
                  <a:pt x="427208" y="39380"/>
                  <a:pt x="433297" y="25779"/>
                  <a:pt x="443142" y="15934"/>
                </a:cubicBezTo>
                <a:close/>
              </a:path>
            </a:pathLst>
          </a:custGeom>
          <a:solidFill>
            <a:srgbClr val="507B0E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rial"/>
              <a:cs typeface="Arial"/>
            </a:endParaRPr>
          </a:p>
        </p:txBody>
      </p:sp>
      <p:sp>
        <p:nvSpPr>
          <p:cNvPr id="28" name="Rounded Rectangle 55"/>
          <p:cNvSpPr/>
          <p:nvPr/>
        </p:nvSpPr>
        <p:spPr>
          <a:xfrm rot="2633341">
            <a:off x="8016799" y="2678441"/>
            <a:ext cx="207588" cy="313160"/>
          </a:xfrm>
          <a:custGeom>
            <a:avLst/>
            <a:gdLst/>
            <a:ahLst/>
            <a:cxnLst/>
            <a:rect l="l" t="t" r="r" b="b"/>
            <a:pathLst>
              <a:path w="759702" h="1294053">
                <a:moveTo>
                  <a:pt x="443142" y="15934"/>
                </a:moveTo>
                <a:cubicBezTo>
                  <a:pt x="452987" y="6089"/>
                  <a:pt x="466588" y="0"/>
                  <a:pt x="481611" y="0"/>
                </a:cubicBezTo>
                <a:lnTo>
                  <a:pt x="699215" y="0"/>
                </a:lnTo>
                <a:cubicBezTo>
                  <a:pt x="729261" y="0"/>
                  <a:pt x="753618" y="24357"/>
                  <a:pt x="753618" y="54403"/>
                </a:cubicBezTo>
                <a:lnTo>
                  <a:pt x="753618" y="1001974"/>
                </a:lnTo>
                <a:cubicBezTo>
                  <a:pt x="754099" y="1002736"/>
                  <a:pt x="754137" y="1003532"/>
                  <a:pt x="754157" y="1004333"/>
                </a:cubicBezTo>
                <a:lnTo>
                  <a:pt x="759685" y="1221867"/>
                </a:lnTo>
                <a:cubicBezTo>
                  <a:pt x="759987" y="1233747"/>
                  <a:pt x="756458" y="1244833"/>
                  <a:pt x="749414" y="1253391"/>
                </a:cubicBezTo>
                <a:cubicBezTo>
                  <a:pt x="748782" y="1255097"/>
                  <a:pt x="748003" y="1256733"/>
                  <a:pt x="746493" y="1257970"/>
                </a:cubicBezTo>
                <a:cubicBezTo>
                  <a:pt x="746150" y="1259198"/>
                  <a:pt x="745375" y="1260060"/>
                  <a:pt x="744541" y="1260865"/>
                </a:cubicBezTo>
                <a:cubicBezTo>
                  <a:pt x="735754" y="1276749"/>
                  <a:pt x="718678" y="1286970"/>
                  <a:pt x="699215" y="1286970"/>
                </a:cubicBezTo>
                <a:lnTo>
                  <a:pt x="481611" y="1286970"/>
                </a:lnTo>
                <a:lnTo>
                  <a:pt x="465705" y="1283759"/>
                </a:lnTo>
                <a:lnTo>
                  <a:pt x="61314" y="1294036"/>
                </a:lnTo>
                <a:cubicBezTo>
                  <a:pt x="31277" y="1294800"/>
                  <a:pt x="6309" y="1271069"/>
                  <a:pt x="5546" y="1241033"/>
                </a:cubicBezTo>
                <a:lnTo>
                  <a:pt x="17" y="1023499"/>
                </a:lnTo>
                <a:cubicBezTo>
                  <a:pt x="-746" y="993463"/>
                  <a:pt x="22984" y="968495"/>
                  <a:pt x="53021" y="967732"/>
                </a:cubicBezTo>
                <a:lnTo>
                  <a:pt x="427208" y="958222"/>
                </a:lnTo>
                <a:lnTo>
                  <a:pt x="427208" y="54403"/>
                </a:lnTo>
                <a:cubicBezTo>
                  <a:pt x="427208" y="39380"/>
                  <a:pt x="433297" y="25779"/>
                  <a:pt x="443142" y="15934"/>
                </a:cubicBezTo>
                <a:close/>
              </a:path>
            </a:pathLst>
          </a:custGeom>
          <a:solidFill>
            <a:srgbClr val="507B0E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rial"/>
              <a:cs typeface="Arial"/>
            </a:endParaRPr>
          </a:p>
        </p:txBody>
      </p:sp>
      <p:sp>
        <p:nvSpPr>
          <p:cNvPr id="29" name="Rounded Rectangle 55"/>
          <p:cNvSpPr/>
          <p:nvPr/>
        </p:nvSpPr>
        <p:spPr>
          <a:xfrm rot="2633341">
            <a:off x="8016799" y="3166478"/>
            <a:ext cx="207588" cy="313160"/>
          </a:xfrm>
          <a:custGeom>
            <a:avLst/>
            <a:gdLst/>
            <a:ahLst/>
            <a:cxnLst/>
            <a:rect l="l" t="t" r="r" b="b"/>
            <a:pathLst>
              <a:path w="759702" h="1294053">
                <a:moveTo>
                  <a:pt x="443142" y="15934"/>
                </a:moveTo>
                <a:cubicBezTo>
                  <a:pt x="452987" y="6089"/>
                  <a:pt x="466588" y="0"/>
                  <a:pt x="481611" y="0"/>
                </a:cubicBezTo>
                <a:lnTo>
                  <a:pt x="699215" y="0"/>
                </a:lnTo>
                <a:cubicBezTo>
                  <a:pt x="729261" y="0"/>
                  <a:pt x="753618" y="24357"/>
                  <a:pt x="753618" y="54403"/>
                </a:cubicBezTo>
                <a:lnTo>
                  <a:pt x="753618" y="1001974"/>
                </a:lnTo>
                <a:cubicBezTo>
                  <a:pt x="754099" y="1002736"/>
                  <a:pt x="754137" y="1003532"/>
                  <a:pt x="754157" y="1004333"/>
                </a:cubicBezTo>
                <a:lnTo>
                  <a:pt x="759685" y="1221867"/>
                </a:lnTo>
                <a:cubicBezTo>
                  <a:pt x="759987" y="1233747"/>
                  <a:pt x="756458" y="1244833"/>
                  <a:pt x="749414" y="1253391"/>
                </a:cubicBezTo>
                <a:cubicBezTo>
                  <a:pt x="748782" y="1255097"/>
                  <a:pt x="748003" y="1256733"/>
                  <a:pt x="746493" y="1257970"/>
                </a:cubicBezTo>
                <a:cubicBezTo>
                  <a:pt x="746150" y="1259198"/>
                  <a:pt x="745375" y="1260060"/>
                  <a:pt x="744541" y="1260865"/>
                </a:cubicBezTo>
                <a:cubicBezTo>
                  <a:pt x="735754" y="1276749"/>
                  <a:pt x="718678" y="1286970"/>
                  <a:pt x="699215" y="1286970"/>
                </a:cubicBezTo>
                <a:lnTo>
                  <a:pt x="481611" y="1286970"/>
                </a:lnTo>
                <a:lnTo>
                  <a:pt x="465705" y="1283759"/>
                </a:lnTo>
                <a:lnTo>
                  <a:pt x="61314" y="1294036"/>
                </a:lnTo>
                <a:cubicBezTo>
                  <a:pt x="31277" y="1294800"/>
                  <a:pt x="6309" y="1271069"/>
                  <a:pt x="5546" y="1241033"/>
                </a:cubicBezTo>
                <a:lnTo>
                  <a:pt x="17" y="1023499"/>
                </a:lnTo>
                <a:cubicBezTo>
                  <a:pt x="-746" y="993463"/>
                  <a:pt x="22984" y="968495"/>
                  <a:pt x="53021" y="967732"/>
                </a:cubicBezTo>
                <a:lnTo>
                  <a:pt x="427208" y="958222"/>
                </a:lnTo>
                <a:lnTo>
                  <a:pt x="427208" y="54403"/>
                </a:lnTo>
                <a:cubicBezTo>
                  <a:pt x="427208" y="39380"/>
                  <a:pt x="433297" y="25779"/>
                  <a:pt x="443142" y="15934"/>
                </a:cubicBezTo>
                <a:close/>
              </a:path>
            </a:pathLst>
          </a:custGeom>
          <a:solidFill>
            <a:srgbClr val="507B0E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rial"/>
              <a:cs typeface="Arial"/>
            </a:endParaRPr>
          </a:p>
        </p:txBody>
      </p:sp>
      <p:sp>
        <p:nvSpPr>
          <p:cNvPr id="30" name="Rounded Rectangle 55"/>
          <p:cNvSpPr/>
          <p:nvPr/>
        </p:nvSpPr>
        <p:spPr>
          <a:xfrm rot="2633341">
            <a:off x="8016799" y="3611163"/>
            <a:ext cx="207588" cy="313160"/>
          </a:xfrm>
          <a:custGeom>
            <a:avLst/>
            <a:gdLst/>
            <a:ahLst/>
            <a:cxnLst/>
            <a:rect l="l" t="t" r="r" b="b"/>
            <a:pathLst>
              <a:path w="759702" h="1294053">
                <a:moveTo>
                  <a:pt x="443142" y="15934"/>
                </a:moveTo>
                <a:cubicBezTo>
                  <a:pt x="452987" y="6089"/>
                  <a:pt x="466588" y="0"/>
                  <a:pt x="481611" y="0"/>
                </a:cubicBezTo>
                <a:lnTo>
                  <a:pt x="699215" y="0"/>
                </a:lnTo>
                <a:cubicBezTo>
                  <a:pt x="729261" y="0"/>
                  <a:pt x="753618" y="24357"/>
                  <a:pt x="753618" y="54403"/>
                </a:cubicBezTo>
                <a:lnTo>
                  <a:pt x="753618" y="1001974"/>
                </a:lnTo>
                <a:cubicBezTo>
                  <a:pt x="754099" y="1002736"/>
                  <a:pt x="754137" y="1003532"/>
                  <a:pt x="754157" y="1004333"/>
                </a:cubicBezTo>
                <a:lnTo>
                  <a:pt x="759685" y="1221867"/>
                </a:lnTo>
                <a:cubicBezTo>
                  <a:pt x="759987" y="1233747"/>
                  <a:pt x="756458" y="1244833"/>
                  <a:pt x="749414" y="1253391"/>
                </a:cubicBezTo>
                <a:cubicBezTo>
                  <a:pt x="748782" y="1255097"/>
                  <a:pt x="748003" y="1256733"/>
                  <a:pt x="746493" y="1257970"/>
                </a:cubicBezTo>
                <a:cubicBezTo>
                  <a:pt x="746150" y="1259198"/>
                  <a:pt x="745375" y="1260060"/>
                  <a:pt x="744541" y="1260865"/>
                </a:cubicBezTo>
                <a:cubicBezTo>
                  <a:pt x="735754" y="1276749"/>
                  <a:pt x="718678" y="1286970"/>
                  <a:pt x="699215" y="1286970"/>
                </a:cubicBezTo>
                <a:lnTo>
                  <a:pt x="481611" y="1286970"/>
                </a:lnTo>
                <a:lnTo>
                  <a:pt x="465705" y="1283759"/>
                </a:lnTo>
                <a:lnTo>
                  <a:pt x="61314" y="1294036"/>
                </a:lnTo>
                <a:cubicBezTo>
                  <a:pt x="31277" y="1294800"/>
                  <a:pt x="6309" y="1271069"/>
                  <a:pt x="5546" y="1241033"/>
                </a:cubicBezTo>
                <a:lnTo>
                  <a:pt x="17" y="1023499"/>
                </a:lnTo>
                <a:cubicBezTo>
                  <a:pt x="-746" y="993463"/>
                  <a:pt x="22984" y="968495"/>
                  <a:pt x="53021" y="967732"/>
                </a:cubicBezTo>
                <a:lnTo>
                  <a:pt x="427208" y="958222"/>
                </a:lnTo>
                <a:lnTo>
                  <a:pt x="427208" y="54403"/>
                </a:lnTo>
                <a:cubicBezTo>
                  <a:pt x="427208" y="39380"/>
                  <a:pt x="433297" y="25779"/>
                  <a:pt x="443142" y="15934"/>
                </a:cubicBezTo>
                <a:close/>
              </a:path>
            </a:pathLst>
          </a:custGeom>
          <a:solidFill>
            <a:srgbClr val="507B0E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rial"/>
              <a:cs typeface="Arial"/>
            </a:endParaRPr>
          </a:p>
        </p:txBody>
      </p:sp>
      <p:sp>
        <p:nvSpPr>
          <p:cNvPr id="31" name="Rectangle 30"/>
          <p:cNvSpPr/>
          <p:nvPr/>
        </p:nvSpPr>
        <p:spPr>
          <a:xfrm>
            <a:off x="6982200" y="4176912"/>
            <a:ext cx="1869440" cy="67012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  <a:effectLst>
            <a:innerShdw blurRad="38100">
              <a:prstClr val="black">
                <a:alpha val="78000"/>
              </a:prstClr>
            </a:inn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5" name="TextBox 34"/>
          <p:cNvSpPr txBox="1"/>
          <p:nvPr/>
        </p:nvSpPr>
        <p:spPr>
          <a:xfrm>
            <a:off x="7124796" y="4227596"/>
            <a:ext cx="560303" cy="276999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en-US" sz="1200" b="1" dirty="0">
                <a:latin typeface="Arial"/>
                <a:cs typeface="Arial"/>
              </a:rPr>
              <a:t>Key</a:t>
            </a:r>
            <a:endParaRPr lang="en-US" sz="1200" dirty="0">
              <a:latin typeface="Arial"/>
              <a:cs typeface="Arial"/>
            </a:endParaRPr>
          </a:p>
        </p:txBody>
      </p:sp>
      <p:sp>
        <p:nvSpPr>
          <p:cNvPr id="36" name="Rounded Rectangle 55"/>
          <p:cNvSpPr/>
          <p:nvPr/>
        </p:nvSpPr>
        <p:spPr>
          <a:xfrm rot="2633341">
            <a:off x="7968105" y="4249987"/>
            <a:ext cx="107001" cy="161418"/>
          </a:xfrm>
          <a:custGeom>
            <a:avLst/>
            <a:gdLst/>
            <a:ahLst/>
            <a:cxnLst/>
            <a:rect l="l" t="t" r="r" b="b"/>
            <a:pathLst>
              <a:path w="759702" h="1294053">
                <a:moveTo>
                  <a:pt x="443142" y="15934"/>
                </a:moveTo>
                <a:cubicBezTo>
                  <a:pt x="452987" y="6089"/>
                  <a:pt x="466588" y="0"/>
                  <a:pt x="481611" y="0"/>
                </a:cubicBezTo>
                <a:lnTo>
                  <a:pt x="699215" y="0"/>
                </a:lnTo>
                <a:cubicBezTo>
                  <a:pt x="729261" y="0"/>
                  <a:pt x="753618" y="24357"/>
                  <a:pt x="753618" y="54403"/>
                </a:cubicBezTo>
                <a:lnTo>
                  <a:pt x="753618" y="1001974"/>
                </a:lnTo>
                <a:cubicBezTo>
                  <a:pt x="754099" y="1002736"/>
                  <a:pt x="754137" y="1003532"/>
                  <a:pt x="754157" y="1004333"/>
                </a:cubicBezTo>
                <a:lnTo>
                  <a:pt x="759685" y="1221867"/>
                </a:lnTo>
                <a:cubicBezTo>
                  <a:pt x="759987" y="1233747"/>
                  <a:pt x="756458" y="1244833"/>
                  <a:pt x="749414" y="1253391"/>
                </a:cubicBezTo>
                <a:cubicBezTo>
                  <a:pt x="748782" y="1255097"/>
                  <a:pt x="748003" y="1256733"/>
                  <a:pt x="746493" y="1257970"/>
                </a:cubicBezTo>
                <a:cubicBezTo>
                  <a:pt x="746150" y="1259198"/>
                  <a:pt x="745375" y="1260060"/>
                  <a:pt x="744541" y="1260865"/>
                </a:cubicBezTo>
                <a:cubicBezTo>
                  <a:pt x="735754" y="1276749"/>
                  <a:pt x="718678" y="1286970"/>
                  <a:pt x="699215" y="1286970"/>
                </a:cubicBezTo>
                <a:lnTo>
                  <a:pt x="481611" y="1286970"/>
                </a:lnTo>
                <a:lnTo>
                  <a:pt x="465705" y="1283759"/>
                </a:lnTo>
                <a:lnTo>
                  <a:pt x="61314" y="1294036"/>
                </a:lnTo>
                <a:cubicBezTo>
                  <a:pt x="31277" y="1294800"/>
                  <a:pt x="6309" y="1271069"/>
                  <a:pt x="5546" y="1241033"/>
                </a:cubicBezTo>
                <a:lnTo>
                  <a:pt x="17" y="1023499"/>
                </a:lnTo>
                <a:cubicBezTo>
                  <a:pt x="-746" y="993463"/>
                  <a:pt x="22984" y="968495"/>
                  <a:pt x="53021" y="967732"/>
                </a:cubicBezTo>
                <a:lnTo>
                  <a:pt x="427208" y="958222"/>
                </a:lnTo>
                <a:lnTo>
                  <a:pt x="427208" y="54403"/>
                </a:lnTo>
                <a:cubicBezTo>
                  <a:pt x="427208" y="39380"/>
                  <a:pt x="433297" y="25779"/>
                  <a:pt x="443142" y="15934"/>
                </a:cubicBezTo>
                <a:close/>
              </a:path>
            </a:pathLst>
          </a:custGeom>
          <a:solidFill>
            <a:srgbClr val="507B0E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rial"/>
              <a:cs typeface="Arial"/>
            </a:endParaRPr>
          </a:p>
        </p:txBody>
      </p:sp>
      <p:sp>
        <p:nvSpPr>
          <p:cNvPr id="37" name="TextBox 36"/>
          <p:cNvSpPr txBox="1"/>
          <p:nvPr/>
        </p:nvSpPr>
        <p:spPr>
          <a:xfrm>
            <a:off x="8178830" y="4216809"/>
            <a:ext cx="557882" cy="219291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en-US" sz="825" dirty="0">
                <a:latin typeface="Arial"/>
                <a:cs typeface="Arial"/>
              </a:rPr>
              <a:t>Yes</a:t>
            </a:r>
          </a:p>
        </p:txBody>
      </p:sp>
      <p:sp>
        <p:nvSpPr>
          <p:cNvPr id="38" name="Multiply 37"/>
          <p:cNvSpPr/>
          <p:nvPr/>
        </p:nvSpPr>
        <p:spPr>
          <a:xfrm>
            <a:off x="7927095" y="4563350"/>
            <a:ext cx="203471" cy="180201"/>
          </a:xfrm>
          <a:prstGeom prst="mathMultiply">
            <a:avLst/>
          </a:prstGeom>
          <a:solidFill>
            <a:srgbClr val="CA0F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rial"/>
              <a:cs typeface="Arial"/>
            </a:endParaRPr>
          </a:p>
        </p:txBody>
      </p:sp>
      <p:sp>
        <p:nvSpPr>
          <p:cNvPr id="39" name="TextBox 38"/>
          <p:cNvSpPr txBox="1"/>
          <p:nvPr/>
        </p:nvSpPr>
        <p:spPr>
          <a:xfrm>
            <a:off x="8170698" y="4543805"/>
            <a:ext cx="672809" cy="219291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en-US" sz="825" dirty="0">
                <a:latin typeface="Arial"/>
                <a:cs typeface="Arial"/>
              </a:rPr>
              <a:t> No</a:t>
            </a:r>
          </a:p>
        </p:txBody>
      </p:sp>
      <p:cxnSp>
        <p:nvCxnSpPr>
          <p:cNvPr id="40" name="Straight Connector 39"/>
          <p:cNvCxnSpPr/>
          <p:nvPr/>
        </p:nvCxnSpPr>
        <p:spPr>
          <a:xfrm>
            <a:off x="7739056" y="4282705"/>
            <a:ext cx="3073" cy="460846"/>
          </a:xfrm>
          <a:prstGeom prst="line">
            <a:avLst/>
          </a:prstGeom>
          <a:ln w="3175">
            <a:solidFill>
              <a:schemeClr val="bg1">
                <a:lumMod val="75000"/>
                <a:alpha val="48000"/>
              </a:schemeClr>
            </a:solidFill>
          </a:ln>
          <a:effectLst>
            <a:outerShdw blurRad="38100" algn="ctr" rotWithShape="0">
              <a:schemeClr val="tx1">
                <a:alpha val="44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21" name="Picture 20">
            <a:extLst>
              <a:ext uri="{FF2B5EF4-FFF2-40B4-BE49-F238E27FC236}">
                <a16:creationId xmlns:a16="http://schemas.microsoft.com/office/drawing/2014/main" id="{A79A2DBD-7B94-404F-B531-597C08CFEB29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15225" y="4173154"/>
            <a:ext cx="2120342" cy="662881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F7434F85-4132-DE44-B331-37B6F6D7E9B1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377186" y="0"/>
            <a:ext cx="6389628" cy="5143500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15932BA4-5D5C-6945-8C5E-E721344A0C76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771934" y="0"/>
            <a:ext cx="5325103" cy="5143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302265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2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691BAFC-84B8-1843-96F2-262F7023D87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1929853"/>
            <a:ext cx="9144000" cy="987702"/>
          </a:xfrm>
        </p:spPr>
        <p:txBody>
          <a:bodyPr>
            <a:normAutofit/>
          </a:bodyPr>
          <a:lstStyle/>
          <a:p>
            <a:r>
              <a:rPr lang="en-US" sz="5400" b="1" dirty="0">
                <a:latin typeface="Avenir Next" panose="020B0503020202020204" pitchFamily="34" charset="0"/>
              </a:rPr>
              <a:t>Assignments</a:t>
            </a:r>
          </a:p>
        </p:txBody>
      </p:sp>
    </p:spTree>
    <p:extLst>
      <p:ext uri="{BB962C8B-B14F-4D97-AF65-F5344CB8AC3E}">
        <p14:creationId xmlns:p14="http://schemas.microsoft.com/office/powerpoint/2010/main" val="2826864482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279148" y="501163"/>
            <a:ext cx="8686800" cy="319935"/>
          </a:xfrm>
        </p:spPr>
        <p:txBody>
          <a:bodyPr/>
          <a:lstStyle/>
          <a:p>
            <a:pPr algn="l"/>
            <a:r>
              <a:rPr lang="en-US" sz="3200" b="1" dirty="0">
                <a:solidFill>
                  <a:srgbClr val="103259"/>
                </a:solidFill>
                <a:effectLst/>
                <a:latin typeface="Roboto Thin" charset="0"/>
                <a:ea typeface="Roboto Thin" charset="0"/>
                <a:cs typeface="Roboto Thin" charset="0"/>
              </a:rPr>
              <a:t>Online Quiz</a:t>
            </a:r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FA8EACE1-A0B2-3C41-928B-659B5D977285}"/>
              </a:ext>
            </a:extLst>
          </p:cNvPr>
          <p:cNvSpPr txBox="1">
            <a:spLocks/>
          </p:cNvSpPr>
          <p:nvPr/>
        </p:nvSpPr>
        <p:spPr>
          <a:xfrm>
            <a:off x="457200" y="983537"/>
            <a:ext cx="7903028" cy="2545889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342900" indent="-342900" algn="l" defTabSz="914400" rtl="0" eaLnBrk="1" latinLnBrk="0" hangingPunct="1">
              <a:lnSpc>
                <a:spcPts val="3200"/>
              </a:lnSpc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>
                    <a:lumMod val="50000"/>
                    <a:lumOff val="50000"/>
                  </a:schemeClr>
                </a:solidFill>
                <a:latin typeface="Roboto Light"/>
                <a:ea typeface="+mn-ea"/>
                <a:cs typeface="Roboto Light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Courier New" pitchFamily="49" charset="0"/>
              <a:buChar char="o"/>
              <a:defRPr sz="1600" kern="1200">
                <a:solidFill>
                  <a:schemeClr val="tx1">
                    <a:lumMod val="50000"/>
                    <a:lumOff val="50000"/>
                  </a:schemeClr>
                </a:solidFill>
                <a:latin typeface="Roboto Light"/>
                <a:ea typeface="+mn-ea"/>
                <a:cs typeface="Roboto Light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>
                    <a:lumMod val="50000"/>
                    <a:lumOff val="50000"/>
                  </a:schemeClr>
                </a:solidFill>
                <a:latin typeface="Roboto Light"/>
                <a:ea typeface="+mn-ea"/>
                <a:cs typeface="Roboto Light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Courier New" pitchFamily="49" charset="0"/>
              <a:buChar char="o"/>
              <a:defRPr sz="1600" kern="1200">
                <a:solidFill>
                  <a:schemeClr val="tx1">
                    <a:lumMod val="50000"/>
                    <a:lumOff val="50000"/>
                  </a:schemeClr>
                </a:solidFill>
                <a:latin typeface="Roboto Light"/>
                <a:ea typeface="+mn-ea"/>
                <a:cs typeface="Roboto Light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>
                    <a:lumMod val="50000"/>
                    <a:lumOff val="50000"/>
                  </a:schemeClr>
                </a:solidFill>
                <a:latin typeface="Roboto Light"/>
                <a:ea typeface="+mn-ea"/>
                <a:cs typeface="Roboto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Courier New" pitchFamily="49" charset="0"/>
              <a:buChar char="o"/>
              <a:defRPr sz="1600" kern="120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Courier New" pitchFamily="49" charset="0"/>
              <a:buChar char="o"/>
              <a:defRPr sz="1600" kern="120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9pPr>
          </a:lstStyle>
          <a:p>
            <a:pPr marL="457200" indent="-457200">
              <a:buFont typeface="+mj-lt"/>
              <a:buAutoNum type="arabicPeriod"/>
            </a:pPr>
            <a:r>
              <a:rPr lang="en-US" dirty="0">
                <a:solidFill>
                  <a:schemeClr val="tx1">
                    <a:lumMod val="95000"/>
                    <a:lumOff val="5000"/>
                  </a:schemeClr>
                </a:solidFill>
              </a:rPr>
              <a:t>Mid-course evaluation</a:t>
            </a:r>
          </a:p>
          <a:p>
            <a:pPr marL="457200" indent="-457200">
              <a:buFont typeface="+mj-lt"/>
              <a:buAutoNum type="arabicPeriod"/>
            </a:pPr>
            <a:r>
              <a:rPr lang="en-US" dirty="0">
                <a:solidFill>
                  <a:schemeClr val="tx1">
                    <a:lumMod val="95000"/>
                    <a:lumOff val="5000"/>
                  </a:schemeClr>
                </a:solidFill>
              </a:rPr>
              <a:t>Online multiple choice quiz</a:t>
            </a:r>
          </a:p>
          <a:p>
            <a:pPr marL="457200" indent="-457200">
              <a:buFont typeface="+mj-lt"/>
              <a:buAutoNum type="arabicPeriod"/>
            </a:pPr>
            <a:r>
              <a:rPr lang="en-US" dirty="0">
                <a:solidFill>
                  <a:schemeClr val="tx1">
                    <a:lumMod val="95000"/>
                    <a:lumOff val="5000"/>
                  </a:schemeClr>
                </a:solidFill>
              </a:rPr>
              <a:t>Covers content from lectures and readings from Weeks 1-3</a:t>
            </a:r>
          </a:p>
          <a:p>
            <a:pPr marL="457200" indent="-457200">
              <a:buFont typeface="+mj-lt"/>
              <a:buAutoNum type="arabicPeriod"/>
            </a:pPr>
            <a:r>
              <a:rPr lang="en-US" dirty="0">
                <a:solidFill>
                  <a:schemeClr val="tx1">
                    <a:lumMod val="95000"/>
                    <a:lumOff val="5000"/>
                  </a:schemeClr>
                </a:solidFill>
              </a:rPr>
              <a:t>Can only be taken </a:t>
            </a:r>
            <a:r>
              <a:rPr lang="en-US" b="1" dirty="0">
                <a:solidFill>
                  <a:schemeClr val="tx1">
                    <a:lumMod val="95000"/>
                    <a:lumOff val="5000"/>
                  </a:schemeClr>
                </a:solidFill>
              </a:rPr>
              <a:t>one</a:t>
            </a:r>
            <a:r>
              <a:rPr lang="en-US" dirty="0">
                <a:solidFill>
                  <a:schemeClr val="tx1">
                    <a:lumMod val="95000"/>
                    <a:lumOff val="5000"/>
                  </a:schemeClr>
                </a:solidFill>
              </a:rPr>
              <a:t> time</a:t>
            </a:r>
          </a:p>
          <a:p>
            <a:pPr marL="457200" indent="-457200">
              <a:buFont typeface="+mj-lt"/>
              <a:buAutoNum type="arabicPeriod"/>
            </a:pPr>
            <a:r>
              <a:rPr lang="en-US" dirty="0">
                <a:solidFill>
                  <a:schemeClr val="tx1">
                    <a:lumMod val="95000"/>
                    <a:lumOff val="5000"/>
                  </a:schemeClr>
                </a:solidFill>
              </a:rPr>
              <a:t>Due by start of </a:t>
            </a:r>
            <a:r>
              <a:rPr lang="en-US" dirty="0">
                <a:solidFill>
                  <a:srgbClr val="C00000"/>
                </a:solidFill>
              </a:rPr>
              <a:t>Week 4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758E8EFD-D340-8A4D-8175-5D6F4D4823F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474823" y="2769813"/>
            <a:ext cx="2211977" cy="22119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10074601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5907108" y="4590561"/>
            <a:ext cx="3128150" cy="385215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19200" y="4181410"/>
            <a:ext cx="1833704" cy="601758"/>
          </a:xfrm>
          <a:prstGeom prst="rect">
            <a:avLst/>
          </a:prstGeom>
        </p:spPr>
      </p:pic>
      <p:sp>
        <p:nvSpPr>
          <p:cNvPr id="13" name="Title 1"/>
          <p:cNvSpPr>
            <a:spLocks noGrp="1"/>
          </p:cNvSpPr>
          <p:nvPr>
            <p:ph type="ctrTitle"/>
          </p:nvPr>
        </p:nvSpPr>
        <p:spPr>
          <a:xfrm>
            <a:off x="287383" y="2169067"/>
            <a:ext cx="8569234" cy="1662980"/>
          </a:xfrm>
        </p:spPr>
        <p:txBody>
          <a:bodyPr/>
          <a:lstStyle/>
          <a:p>
            <a:r>
              <a:rPr lang="en-US" sz="4400" b="1" dirty="0">
                <a:solidFill>
                  <a:srgbClr val="103259"/>
                </a:solidFill>
                <a:effectLst/>
                <a:latin typeface="Roboto Thin" charset="0"/>
                <a:ea typeface="Roboto Thin" charset="0"/>
                <a:cs typeface="Roboto Thin" charset="0"/>
              </a:rPr>
              <a:t>Next module:</a:t>
            </a:r>
            <a:br>
              <a:rPr lang="en-US" sz="4000" dirty="0">
                <a:solidFill>
                  <a:srgbClr val="103259"/>
                </a:solidFill>
                <a:effectLst/>
                <a:latin typeface="Roboto Thin" charset="0"/>
                <a:ea typeface="Roboto Thin" charset="0"/>
                <a:cs typeface="Roboto Thin" charset="0"/>
              </a:rPr>
            </a:br>
            <a:r>
              <a:rPr lang="en-US" sz="4000" dirty="0">
                <a:solidFill>
                  <a:srgbClr val="103259"/>
                </a:solidFill>
                <a:effectLst/>
                <a:latin typeface="Roboto Thin" charset="0"/>
                <a:ea typeface="Roboto Thin" charset="0"/>
                <a:cs typeface="Roboto Thin" charset="0"/>
              </a:rPr>
              <a:t>Health Blockchain Stakeholders, Consortiums, and Governance</a:t>
            </a:r>
            <a:br>
              <a:rPr lang="en-US" sz="3600" dirty="0">
                <a:solidFill>
                  <a:srgbClr val="103259"/>
                </a:solidFill>
                <a:effectLst/>
                <a:latin typeface="Roboto Thin" charset="0"/>
                <a:ea typeface="Roboto Thin" charset="0"/>
                <a:cs typeface="Roboto Thin" charset="0"/>
              </a:rPr>
            </a:br>
            <a:endParaRPr lang="en-US" sz="3600" dirty="0">
              <a:solidFill>
                <a:srgbClr val="2F5897"/>
              </a:solidFill>
              <a:effectLst/>
              <a:latin typeface="Roboto Thin" charset="0"/>
              <a:ea typeface="Roboto Thin" charset="0"/>
              <a:cs typeface="Roboto Thin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3663501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67857" y="98853"/>
            <a:ext cx="7886700" cy="827903"/>
          </a:xfrm>
        </p:spPr>
        <p:txBody>
          <a:bodyPr>
            <a:normAutofit/>
          </a:bodyPr>
          <a:lstStyle/>
          <a:p>
            <a:pPr algn="l"/>
            <a:r>
              <a:rPr lang="es-ES_tradnl" sz="3000" b="1" dirty="0" err="1">
                <a:solidFill>
                  <a:srgbClr val="184DA3"/>
                </a:solidFill>
                <a:latin typeface="Arial" charset="0"/>
                <a:ea typeface="Arial" charset="0"/>
                <a:cs typeface="Arial" charset="0"/>
              </a:rPr>
              <a:t>What</a:t>
            </a:r>
            <a:r>
              <a:rPr lang="es-ES_tradnl" sz="3000" b="1" dirty="0">
                <a:solidFill>
                  <a:srgbClr val="184DA3"/>
                </a:solidFill>
                <a:latin typeface="Arial" charset="0"/>
                <a:ea typeface="Arial" charset="0"/>
                <a:cs typeface="Arial" charset="0"/>
              </a:rPr>
              <a:t> </a:t>
            </a:r>
            <a:r>
              <a:rPr lang="es-ES_tradnl" sz="3000" b="1" dirty="0" err="1">
                <a:solidFill>
                  <a:srgbClr val="184DA3"/>
                </a:solidFill>
                <a:latin typeface="Arial" charset="0"/>
                <a:ea typeface="Arial" charset="0"/>
                <a:cs typeface="Arial" charset="0"/>
              </a:rPr>
              <a:t>is</a:t>
            </a:r>
            <a:r>
              <a:rPr lang="es-ES_tradnl" sz="3000" b="1" dirty="0">
                <a:solidFill>
                  <a:srgbClr val="184DA3"/>
                </a:solidFill>
                <a:latin typeface="Arial" charset="0"/>
                <a:ea typeface="Arial" charset="0"/>
                <a:cs typeface="Arial" charset="0"/>
              </a:rPr>
              <a:t> </a:t>
            </a:r>
            <a:r>
              <a:rPr lang="es-ES_tradnl" sz="3000" b="1" dirty="0" err="1">
                <a:solidFill>
                  <a:srgbClr val="184DA3"/>
                </a:solidFill>
                <a:latin typeface="Arial" charset="0"/>
                <a:ea typeface="Arial" charset="0"/>
                <a:cs typeface="Arial" charset="0"/>
              </a:rPr>
              <a:t>Blockchain</a:t>
            </a:r>
            <a:r>
              <a:rPr lang="es-ES_tradnl" sz="3000" b="1" dirty="0">
                <a:solidFill>
                  <a:srgbClr val="184DA3"/>
                </a:solidFill>
                <a:latin typeface="Arial" charset="0"/>
                <a:ea typeface="Arial" charset="0"/>
                <a:cs typeface="Arial" charset="0"/>
              </a:rPr>
              <a:t>?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E88EA03B-300B-3F44-BC83-EBCBDE1AEDE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67857" y="1166416"/>
            <a:ext cx="8227400" cy="3302714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2FB3CABC-5439-D94C-8E85-64EB1375420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158343" y="1248910"/>
            <a:ext cx="4671161" cy="18564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3564279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2EDC1B56-FCDD-374B-A223-840824741915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75225" y="775188"/>
            <a:ext cx="6143584" cy="3138570"/>
          </a:xfrm>
          <a:prstGeom prst="rect">
            <a:avLst/>
          </a:prstGeom>
        </p:spPr>
      </p:pic>
      <p:graphicFrame>
        <p:nvGraphicFramePr>
          <p:cNvPr id="25" name="Object 2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33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25" name="Object 24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ktangel 13"/>
          <p:cNvSpPr>
            <a:spLocks noChangeArrowheads="1"/>
          </p:cNvSpPr>
          <p:nvPr/>
        </p:nvSpPr>
        <p:spPr bwMode="auto">
          <a:xfrm rot="16200000">
            <a:off x="692686" y="4458116"/>
            <a:ext cx="209550" cy="878820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85000"/>
                </a:schemeClr>
              </a:gs>
              <a:gs pos="100000">
                <a:schemeClr val="bg1">
                  <a:lumMod val="95000"/>
                </a:schemeClr>
              </a:gs>
            </a:gsLst>
            <a:lin ang="0" scaled="0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9" name="Rektangel 13"/>
          <p:cNvSpPr>
            <a:spLocks noChangeArrowheads="1"/>
          </p:cNvSpPr>
          <p:nvPr/>
        </p:nvSpPr>
        <p:spPr bwMode="auto">
          <a:xfrm rot="16200000">
            <a:off x="72726" y="4716976"/>
            <a:ext cx="209552" cy="361097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100000">
                <a:schemeClr val="accent1">
                  <a:lumMod val="75000"/>
                </a:schemeClr>
              </a:gs>
            </a:gsLst>
            <a:lin ang="0" scaled="0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6" name="Slide Number Placeholder 1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72F2ED-C0F1-A14B-BA46-C5847C658EB2}" type="slidenum">
              <a:rPr lang="en-US" smtClean="0"/>
              <a:pPr/>
              <a:t>4</a:t>
            </a:fld>
            <a:endParaRPr lang="en-US" dirty="0"/>
          </a:p>
        </p:txBody>
      </p:sp>
      <p:sp>
        <p:nvSpPr>
          <p:cNvPr id="13" name="Rectangle 5"/>
          <p:cNvSpPr txBox="1">
            <a:spLocks noChangeArrowheads="1"/>
          </p:cNvSpPr>
          <p:nvPr/>
        </p:nvSpPr>
        <p:spPr bwMode="gray">
          <a:xfrm>
            <a:off x="265614" y="190726"/>
            <a:ext cx="3762100" cy="45005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rIns="0" anchor="ctr"/>
          <a:lstStyle/>
          <a:p>
            <a:pPr defTabSz="685800" eaLnBrk="0" hangingPunct="0">
              <a:lnSpc>
                <a:spcPct val="95000"/>
              </a:lnSpc>
            </a:pPr>
            <a:r>
              <a:rPr lang="en-US" sz="2800" b="1" dirty="0" err="1">
                <a:solidFill>
                  <a:srgbClr val="171717"/>
                </a:solidFill>
              </a:rPr>
              <a:t>Blockchain</a:t>
            </a:r>
            <a:r>
              <a:rPr lang="is-IS" sz="2800" b="1" dirty="0">
                <a:solidFill>
                  <a:srgbClr val="171717"/>
                </a:solidFill>
              </a:rPr>
              <a:t> Basics</a:t>
            </a:r>
            <a:endParaRPr lang="en-US" sz="2800" b="1" dirty="0">
              <a:solidFill>
                <a:srgbClr val="171717"/>
              </a:solidFill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66586B5C-2740-3449-8569-D7C2DCE6829A}"/>
              </a:ext>
            </a:extLst>
          </p:cNvPr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912885" y="3860178"/>
            <a:ext cx="4100913" cy="1150655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13FFD99F-19F4-2B4C-B367-DCA759E55B33}"/>
              </a:ext>
            </a:extLst>
          </p:cNvPr>
          <p:cNvPicPr>
            <a:picLocks noChangeAspect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987812" y="3851646"/>
            <a:ext cx="757350" cy="1167720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521EAE2F-427F-CF4E-A7C4-76F84BDA51BB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413167" y="775188"/>
            <a:ext cx="8267700" cy="2882900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6D484A1B-AB72-D948-998B-8BD35391B026}"/>
              </a:ext>
            </a:extLst>
          </p:cNvPr>
          <p:cNvPicPr>
            <a:picLocks noChangeAspect="1"/>
          </p:cNvPicPr>
          <p:nvPr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3047" y="204386"/>
            <a:ext cx="9144000" cy="48149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776926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2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2E696AC6-277E-CC46-9504-9D0131375C1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6858000" cy="5143500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EF98C84F-D804-8B44-BD9E-B90E3D2D51F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522776" y="581898"/>
            <a:ext cx="2489200" cy="96520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31BECF62-67EF-5140-9303-5B93AEA65B6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0" y="0"/>
            <a:ext cx="6620347" cy="5143500"/>
          </a:xfrm>
          <a:prstGeom prst="rect">
            <a:avLst/>
          </a:prstGeom>
        </p:spPr>
      </p:pic>
      <p:sp>
        <p:nvSpPr>
          <p:cNvPr id="8" name="Right Arrow 7">
            <a:extLst>
              <a:ext uri="{FF2B5EF4-FFF2-40B4-BE49-F238E27FC236}">
                <a16:creationId xmlns:a16="http://schemas.microsoft.com/office/drawing/2014/main" id="{BB7BA731-1A3E-674B-8D7C-429A99BCCDE0}"/>
              </a:ext>
            </a:extLst>
          </p:cNvPr>
          <p:cNvSpPr/>
          <p:nvPr/>
        </p:nvSpPr>
        <p:spPr>
          <a:xfrm rot="10800000">
            <a:off x="1876301" y="1923801"/>
            <a:ext cx="451261" cy="245101"/>
          </a:xfrm>
          <a:prstGeom prst="rightArrow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Right Arrow 8">
            <a:extLst>
              <a:ext uri="{FF2B5EF4-FFF2-40B4-BE49-F238E27FC236}">
                <a16:creationId xmlns:a16="http://schemas.microsoft.com/office/drawing/2014/main" id="{12622BD7-E8FE-0847-AC2C-97E206BAE16F}"/>
              </a:ext>
            </a:extLst>
          </p:cNvPr>
          <p:cNvSpPr/>
          <p:nvPr/>
        </p:nvSpPr>
        <p:spPr>
          <a:xfrm rot="10800000">
            <a:off x="1999013" y="1345869"/>
            <a:ext cx="451261" cy="245101"/>
          </a:xfrm>
          <a:prstGeom prst="rightArrow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2694612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2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9" grpId="0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C15A40AD-D26E-B540-9498-4191C3C2DE9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26944" y="313377"/>
            <a:ext cx="6490112" cy="43267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950643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" name="Object 2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29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5" name="Object 2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Rectangle 5">
            <a:extLst>
              <a:ext uri="{FF2B5EF4-FFF2-40B4-BE49-F238E27FC236}">
                <a16:creationId xmlns:a16="http://schemas.microsoft.com/office/drawing/2014/main" id="{4C5520C6-AC0E-F74F-BA70-840FD8E2EBA7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236487" y="209401"/>
            <a:ext cx="6036332" cy="45005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rIns="0" anchor="ctr"/>
          <a:lstStyle/>
          <a:p>
            <a:pPr defTabSz="685800" eaLnBrk="0" hangingPunct="0">
              <a:lnSpc>
                <a:spcPct val="95000"/>
              </a:lnSpc>
            </a:pPr>
            <a:r>
              <a:rPr lang="en-US" sz="2800" b="1" dirty="0">
                <a:solidFill>
                  <a:srgbClr val="171717"/>
                </a:solidFill>
                <a:latin typeface="Arial" charset="0"/>
                <a:ea typeface="Arial" charset="0"/>
                <a:cs typeface="Arial" charset="0"/>
              </a:rPr>
              <a:t>Blockchain Biomedical Research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4E438178-1D54-594C-8839-69071607E8B7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0" y="801388"/>
            <a:ext cx="9144000" cy="4193865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625B8E14-9F6C-3A45-90C3-16420F98273A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626430" y="148247"/>
            <a:ext cx="2034639" cy="7222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20282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691BAFC-84B8-1843-96F2-262F7023D87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1077624"/>
            <a:ext cx="9144000" cy="2304052"/>
          </a:xfrm>
        </p:spPr>
        <p:txBody>
          <a:bodyPr>
            <a:normAutofit/>
          </a:bodyPr>
          <a:lstStyle/>
          <a:p>
            <a:r>
              <a:rPr lang="en-US" sz="5400" b="1" dirty="0">
                <a:latin typeface="Avenir Next" panose="020B0503020202020204" pitchFamily="34" charset="0"/>
              </a:rPr>
              <a:t>The ”Fit-for-Purpose” Framework</a:t>
            </a:r>
          </a:p>
        </p:txBody>
      </p:sp>
    </p:spTree>
    <p:extLst>
      <p:ext uri="{BB962C8B-B14F-4D97-AF65-F5344CB8AC3E}">
        <p14:creationId xmlns:p14="http://schemas.microsoft.com/office/powerpoint/2010/main" val="274628322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" name="Object 2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01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5" name="Object 2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Rectangle 4">
            <a:extLst>
              <a:ext uri="{FF2B5EF4-FFF2-40B4-BE49-F238E27FC236}">
                <a16:creationId xmlns:a16="http://schemas.microsoft.com/office/drawing/2014/main" id="{EBB141AA-7FA6-0B44-A7B2-6758F7BA066E}"/>
              </a:ext>
            </a:extLst>
          </p:cNvPr>
          <p:cNvSpPr>
            <a:spLocks noChangeArrowheads="1"/>
          </p:cNvSpPr>
          <p:nvPr/>
        </p:nvSpPr>
        <p:spPr bwMode="gray">
          <a:xfrm>
            <a:off x="265614" y="881799"/>
            <a:ext cx="5357709" cy="26908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defTabSz="601266"/>
            <a:r>
              <a:rPr lang="en-US" sz="1600" dirty="0">
                <a:solidFill>
                  <a:srgbClr val="171717"/>
                </a:solidFill>
                <a:latin typeface="Arial" charset="0"/>
                <a:ea typeface="Arial" charset="0"/>
                <a:cs typeface="Arial" charset="0"/>
              </a:rPr>
              <a:t>Core Principles and Design Element Considerations</a:t>
            </a:r>
          </a:p>
          <a:p>
            <a:pPr defTabSz="601266"/>
            <a:endParaRPr lang="en-US" dirty="0">
              <a:solidFill>
                <a:srgbClr val="171717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24" name="Rectangle 5">
            <a:extLst>
              <a:ext uri="{FF2B5EF4-FFF2-40B4-BE49-F238E27FC236}">
                <a16:creationId xmlns:a16="http://schemas.microsoft.com/office/drawing/2014/main" id="{4C5520C6-AC0E-F74F-BA70-840FD8E2EBA7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265613" y="336499"/>
            <a:ext cx="5033973" cy="45005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rIns="0" anchor="ctr"/>
          <a:lstStyle/>
          <a:p>
            <a:pPr defTabSz="685800" eaLnBrk="0" hangingPunct="0">
              <a:lnSpc>
                <a:spcPct val="95000"/>
              </a:lnSpc>
            </a:pPr>
            <a:r>
              <a:rPr lang="en-US" sz="2800" b="1" dirty="0" err="1">
                <a:solidFill>
                  <a:srgbClr val="171717"/>
                </a:solidFill>
                <a:latin typeface="Arial" charset="0"/>
                <a:ea typeface="Arial" charset="0"/>
                <a:cs typeface="Arial" charset="0"/>
              </a:rPr>
              <a:t>Blockchain</a:t>
            </a:r>
            <a:r>
              <a:rPr lang="en-US" sz="2800" b="1" dirty="0">
                <a:solidFill>
                  <a:srgbClr val="171717"/>
                </a:solidFill>
                <a:latin typeface="Arial" charset="0"/>
                <a:ea typeface="Arial" charset="0"/>
                <a:cs typeface="Arial" charset="0"/>
              </a:rPr>
              <a:t> for Healthcare</a:t>
            </a:r>
            <a:r>
              <a:rPr lang="is-IS" sz="2800" b="1" dirty="0">
                <a:solidFill>
                  <a:srgbClr val="171717"/>
                </a:solidFill>
                <a:latin typeface="Arial" charset="0"/>
                <a:ea typeface="Arial" charset="0"/>
                <a:cs typeface="Arial" charset="0"/>
              </a:rPr>
              <a:t>?</a:t>
            </a:r>
            <a:endParaRPr lang="en-US" sz="2800" b="1" dirty="0">
              <a:solidFill>
                <a:srgbClr val="171717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D2FDB55D-D893-5249-9A0D-B2A4D140B044}"/>
              </a:ext>
            </a:extLst>
          </p:cNvPr>
          <p:cNvSpPr/>
          <p:nvPr/>
        </p:nvSpPr>
        <p:spPr>
          <a:xfrm>
            <a:off x="134859" y="1240461"/>
            <a:ext cx="6143642" cy="88150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  <a:effectLst>
            <a:innerShdw blurRad="38100">
              <a:prstClr val="black">
                <a:alpha val="78000"/>
              </a:prstClr>
            </a:inn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6E55C053-0A5F-D240-BA20-2265273CBAB2}"/>
              </a:ext>
            </a:extLst>
          </p:cNvPr>
          <p:cNvSpPr txBox="1"/>
          <p:nvPr/>
        </p:nvSpPr>
        <p:spPr>
          <a:xfrm>
            <a:off x="187568" y="1243448"/>
            <a:ext cx="6045116" cy="861774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r>
              <a:rPr lang="en-US" b="1" dirty="0">
                <a:solidFill>
                  <a:srgbClr val="FF0000"/>
                </a:solidFill>
                <a:latin typeface="Arial"/>
                <a:cs typeface="Arial"/>
              </a:rPr>
              <a:t>Core Principles:</a:t>
            </a:r>
            <a:r>
              <a:rPr lang="en-US" b="1" dirty="0">
                <a:latin typeface="Arial"/>
                <a:cs typeface="Arial"/>
              </a:rPr>
              <a:t>  </a:t>
            </a:r>
            <a:r>
              <a:rPr lang="en-US" sz="1600" dirty="0">
                <a:latin typeface="Arial"/>
                <a:cs typeface="Arial"/>
              </a:rPr>
              <a:t>At its core, a BC is an immutable distributed ledger that can better ensure the resilience, provenance, traceability, and management of healthcare data</a:t>
            </a:r>
            <a:endParaRPr lang="en-US" sz="1600" b="1" dirty="0">
              <a:latin typeface="Arial"/>
              <a:cs typeface="Arial"/>
            </a:endParaRP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51BFC362-446A-4347-BDB0-D3553461E312}"/>
              </a:ext>
            </a:extLst>
          </p:cNvPr>
          <p:cNvSpPr/>
          <p:nvPr/>
        </p:nvSpPr>
        <p:spPr>
          <a:xfrm>
            <a:off x="134859" y="2204347"/>
            <a:ext cx="6143642" cy="118629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  <a:effectLst>
            <a:innerShdw blurRad="38100">
              <a:prstClr val="black">
                <a:alpha val="78000"/>
              </a:prstClr>
            </a:inn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DA17A5B9-5E17-124C-ACA9-3E3E3328FC84}"/>
              </a:ext>
            </a:extLst>
          </p:cNvPr>
          <p:cNvSpPr txBox="1"/>
          <p:nvPr/>
        </p:nvSpPr>
        <p:spPr>
          <a:xfrm>
            <a:off x="185205" y="2203147"/>
            <a:ext cx="6092269" cy="1107996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r>
              <a:rPr lang="en-US" b="1" dirty="0">
                <a:solidFill>
                  <a:schemeClr val="accent1"/>
                </a:solidFill>
                <a:latin typeface="Arial"/>
                <a:cs typeface="Arial"/>
              </a:rPr>
              <a:t>Design Decisions:  </a:t>
            </a:r>
            <a:r>
              <a:rPr lang="en-US" sz="1600" b="1" dirty="0">
                <a:latin typeface="Arial"/>
                <a:cs typeface="Arial"/>
              </a:rPr>
              <a:t>Three</a:t>
            </a:r>
            <a:r>
              <a:rPr lang="en-US" sz="1600" dirty="0">
                <a:latin typeface="Arial"/>
                <a:cs typeface="Arial"/>
              </a:rPr>
              <a:t> primary design elements: (1)  private models; (2) public models; and (3) hybrid (also consortium-based models.)  These design choices should map to healthcare industry specific challenges and characteristics (</a:t>
            </a:r>
            <a:r>
              <a:rPr lang="en-US" sz="1600" dirty="0">
                <a:latin typeface="Arial"/>
                <a:cs typeface="Arial"/>
                <a:sym typeface="Wingdings" pitchFamily="2" charset="2"/>
              </a:rPr>
              <a:t>)</a:t>
            </a:r>
            <a:endParaRPr lang="en-US" sz="1600" b="1" dirty="0">
              <a:latin typeface="Arial"/>
              <a:cs typeface="Arial"/>
            </a:endParaRPr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7F9B72C4-7D50-5545-9342-EC7874378BF2}"/>
              </a:ext>
            </a:extLst>
          </p:cNvPr>
          <p:cNvSpPr/>
          <p:nvPr/>
        </p:nvSpPr>
        <p:spPr>
          <a:xfrm>
            <a:off x="134859" y="3478732"/>
            <a:ext cx="6143642" cy="118573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  <a:effectLst>
            <a:innerShdw blurRad="38100">
              <a:prstClr val="black">
                <a:alpha val="78000"/>
              </a:prstClr>
            </a:inn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B52EFA9A-A18F-F74C-BC12-EEFF69DEDAD2}"/>
              </a:ext>
            </a:extLst>
          </p:cNvPr>
          <p:cNvSpPr txBox="1"/>
          <p:nvPr/>
        </p:nvSpPr>
        <p:spPr>
          <a:xfrm>
            <a:off x="192679" y="3473554"/>
            <a:ext cx="6040005" cy="1107996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r>
              <a:rPr lang="en-US" b="1" dirty="0">
                <a:latin typeface="Arial"/>
                <a:cs typeface="Arial"/>
              </a:rPr>
              <a:t>Beyond </a:t>
            </a:r>
            <a:r>
              <a:rPr lang="en-US" b="1" dirty="0" err="1">
                <a:latin typeface="Arial"/>
                <a:cs typeface="Arial"/>
              </a:rPr>
              <a:t>Blockchain</a:t>
            </a:r>
            <a:r>
              <a:rPr lang="en-US" b="1" dirty="0">
                <a:latin typeface="Arial"/>
                <a:cs typeface="Arial"/>
              </a:rPr>
              <a:t>:  </a:t>
            </a:r>
            <a:r>
              <a:rPr lang="en-US" sz="1600" dirty="0">
                <a:latin typeface="Arial"/>
                <a:cs typeface="Arial"/>
              </a:rPr>
              <a:t>Beyond the design elements and core principles, what “added value” does a health </a:t>
            </a:r>
            <a:r>
              <a:rPr lang="en-US" sz="1600" dirty="0" err="1">
                <a:latin typeface="Arial"/>
                <a:cs typeface="Arial"/>
              </a:rPr>
              <a:t>blockchain</a:t>
            </a:r>
            <a:r>
              <a:rPr lang="en-US" sz="1600" dirty="0">
                <a:latin typeface="Arial"/>
                <a:cs typeface="Arial"/>
              </a:rPr>
              <a:t> have to offer?  Examples include added compliance, audit, enabling aggregation/data sharing, incentivizing participation (tokens), etc.</a:t>
            </a:r>
            <a:endParaRPr lang="en-US" sz="1600" b="1" dirty="0">
              <a:latin typeface="Arial"/>
              <a:cs typeface="Arial"/>
            </a:endParaRP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D569A543-160D-C54A-B613-0D06C4F7DB1B}"/>
              </a:ext>
            </a:extLst>
          </p:cNvPr>
          <p:cNvSpPr txBox="1"/>
          <p:nvPr/>
        </p:nvSpPr>
        <p:spPr>
          <a:xfrm>
            <a:off x="6327819" y="1240461"/>
            <a:ext cx="2718543" cy="3430895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wrap="square" rtlCol="0">
            <a:spAutoFit/>
          </a:bodyPr>
          <a:lstStyle/>
          <a:p>
            <a:endParaRPr lang="en-US"/>
          </a:p>
        </p:txBody>
      </p:sp>
      <p:sp>
        <p:nvSpPr>
          <p:cNvPr id="48" name="Rektangel 76">
            <a:extLst>
              <a:ext uri="{FF2B5EF4-FFF2-40B4-BE49-F238E27FC236}">
                <a16:creationId xmlns:a16="http://schemas.microsoft.com/office/drawing/2014/main" id="{DA348839-4827-F04E-B3A3-F7803A6E9941}"/>
              </a:ext>
            </a:extLst>
          </p:cNvPr>
          <p:cNvSpPr>
            <a:spLocks noChangeArrowheads="1"/>
          </p:cNvSpPr>
          <p:nvPr/>
        </p:nvSpPr>
        <p:spPr bwMode="auto">
          <a:xfrm>
            <a:off x="6376449" y="1290040"/>
            <a:ext cx="2669914" cy="319318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defTabSz="914400"/>
            <a:r>
              <a:rPr lang="en-US" sz="1300" b="1" noProof="1">
                <a:solidFill>
                  <a:srgbClr val="262626"/>
                </a:solidFill>
                <a:latin typeface="Arial"/>
                <a:cs typeface="Arial"/>
              </a:rPr>
              <a:t>Other characteristics for consideration</a:t>
            </a:r>
            <a:endParaRPr sz="1300" b="1" noProof="1">
              <a:solidFill>
                <a:srgbClr val="262626"/>
              </a:solidFill>
              <a:latin typeface="Arial"/>
              <a:cs typeface="Arial"/>
            </a:endParaRPr>
          </a:p>
          <a:p>
            <a:pPr defTabSz="914400"/>
            <a:endParaRPr lang="en-US" sz="1300" noProof="1">
              <a:solidFill>
                <a:srgbClr val="262626"/>
              </a:solidFill>
              <a:latin typeface="Arial"/>
              <a:cs typeface="Arial"/>
            </a:endParaRPr>
          </a:p>
          <a:p>
            <a:pPr marL="342900" indent="-342900" defTabSz="914400">
              <a:buAutoNum type="arabicPeriod"/>
            </a:pPr>
            <a:r>
              <a:rPr lang="en-US" sz="1250" noProof="1">
                <a:solidFill>
                  <a:srgbClr val="262626"/>
                </a:solidFill>
                <a:latin typeface="Arial"/>
                <a:cs typeface="Arial"/>
              </a:rPr>
              <a:t>Data sharing, what is shared what is not? (levels of permissions)</a:t>
            </a:r>
            <a:br>
              <a:rPr lang="en-US" sz="1250" noProof="1">
                <a:solidFill>
                  <a:srgbClr val="262626"/>
                </a:solidFill>
                <a:latin typeface="Arial"/>
                <a:cs typeface="Arial"/>
              </a:rPr>
            </a:br>
            <a:endParaRPr lang="en-US" sz="1250" noProof="1">
              <a:solidFill>
                <a:srgbClr val="262626"/>
              </a:solidFill>
              <a:latin typeface="Arial"/>
              <a:cs typeface="Arial"/>
            </a:endParaRPr>
          </a:p>
          <a:p>
            <a:pPr marL="342900" indent="-342900" defTabSz="914400">
              <a:buAutoNum type="arabicPeriod"/>
            </a:pPr>
            <a:r>
              <a:rPr lang="da-DK" sz="1250" dirty="0" err="1">
                <a:solidFill>
                  <a:srgbClr val="262626"/>
                </a:solidFill>
                <a:latin typeface="Arial"/>
                <a:cs typeface="Arial"/>
              </a:rPr>
              <a:t>Offchain</a:t>
            </a:r>
            <a:r>
              <a:rPr lang="da-DK" sz="1250" dirty="0">
                <a:solidFill>
                  <a:srgbClr val="262626"/>
                </a:solidFill>
                <a:latin typeface="Arial"/>
                <a:cs typeface="Arial"/>
              </a:rPr>
              <a:t> </a:t>
            </a:r>
            <a:r>
              <a:rPr lang="da-DK" sz="1250" dirty="0" err="1">
                <a:solidFill>
                  <a:srgbClr val="262626"/>
                </a:solidFill>
                <a:latin typeface="Arial"/>
                <a:cs typeface="Arial"/>
              </a:rPr>
              <a:t>storage</a:t>
            </a:r>
            <a:r>
              <a:rPr lang="da-DK" sz="1250" dirty="0">
                <a:solidFill>
                  <a:srgbClr val="262626"/>
                </a:solidFill>
                <a:latin typeface="Arial"/>
                <a:cs typeface="Arial"/>
              </a:rPr>
              <a:t> vs. </a:t>
            </a:r>
            <a:r>
              <a:rPr lang="da-DK" sz="1250" dirty="0" err="1">
                <a:solidFill>
                  <a:srgbClr val="262626"/>
                </a:solidFill>
                <a:latin typeface="Arial"/>
                <a:cs typeface="Arial"/>
              </a:rPr>
              <a:t>onchain</a:t>
            </a:r>
            <a:r>
              <a:rPr lang="da-DK" sz="1250" dirty="0">
                <a:solidFill>
                  <a:srgbClr val="262626"/>
                </a:solidFill>
                <a:latin typeface="Arial"/>
                <a:cs typeface="Arial"/>
              </a:rPr>
              <a:t> </a:t>
            </a:r>
            <a:r>
              <a:rPr lang="da-DK" sz="1250" dirty="0" err="1">
                <a:solidFill>
                  <a:srgbClr val="262626"/>
                </a:solidFill>
                <a:latin typeface="Arial"/>
                <a:cs typeface="Arial"/>
              </a:rPr>
              <a:t>storage</a:t>
            </a:r>
            <a:r>
              <a:rPr lang="da-DK" sz="1250" dirty="0">
                <a:solidFill>
                  <a:srgbClr val="262626"/>
                </a:solidFill>
                <a:latin typeface="Arial"/>
                <a:cs typeface="Arial"/>
              </a:rPr>
              <a:t> </a:t>
            </a:r>
            <a:br>
              <a:rPr lang="da-DK" sz="1250" dirty="0">
                <a:solidFill>
                  <a:srgbClr val="262626"/>
                </a:solidFill>
                <a:latin typeface="Arial"/>
                <a:cs typeface="Arial"/>
              </a:rPr>
            </a:br>
            <a:endParaRPr lang="da-DK" sz="1250" dirty="0">
              <a:solidFill>
                <a:srgbClr val="262626"/>
              </a:solidFill>
              <a:latin typeface="Arial"/>
              <a:cs typeface="Arial"/>
            </a:endParaRPr>
          </a:p>
          <a:p>
            <a:pPr marL="342900" indent="-342900" defTabSz="914400">
              <a:buAutoNum type="arabicPeriod"/>
            </a:pPr>
            <a:r>
              <a:rPr lang="da-DK" sz="1250" dirty="0" err="1">
                <a:solidFill>
                  <a:srgbClr val="262626"/>
                </a:solidFill>
                <a:latin typeface="Arial"/>
                <a:cs typeface="Arial"/>
              </a:rPr>
              <a:t>Governance</a:t>
            </a:r>
            <a:r>
              <a:rPr lang="da-DK" sz="1250" dirty="0">
                <a:solidFill>
                  <a:srgbClr val="262626"/>
                </a:solidFill>
                <a:latin typeface="Arial"/>
                <a:cs typeface="Arial"/>
              </a:rPr>
              <a:t> of a BC, p2p </a:t>
            </a:r>
            <a:r>
              <a:rPr lang="da-DK" sz="1250" dirty="0" err="1">
                <a:solidFill>
                  <a:srgbClr val="262626"/>
                </a:solidFill>
                <a:latin typeface="Arial"/>
                <a:cs typeface="Arial"/>
              </a:rPr>
              <a:t>networks</a:t>
            </a:r>
            <a:r>
              <a:rPr lang="da-DK" sz="1250" dirty="0">
                <a:solidFill>
                  <a:srgbClr val="262626"/>
                </a:solidFill>
                <a:latin typeface="Arial"/>
                <a:cs typeface="Arial"/>
              </a:rPr>
              <a:t>, </a:t>
            </a:r>
            <a:r>
              <a:rPr lang="da-DK" sz="1250" dirty="0" err="1">
                <a:solidFill>
                  <a:srgbClr val="262626"/>
                </a:solidFill>
                <a:latin typeface="Arial"/>
                <a:cs typeface="Arial"/>
              </a:rPr>
              <a:t>roles</a:t>
            </a:r>
            <a:r>
              <a:rPr lang="da-DK" sz="1250" dirty="0">
                <a:solidFill>
                  <a:srgbClr val="262626"/>
                </a:solidFill>
                <a:latin typeface="Arial"/>
                <a:cs typeface="Arial"/>
              </a:rPr>
              <a:t> for regulators? </a:t>
            </a:r>
            <a:br>
              <a:rPr lang="da-DK" sz="1250" dirty="0">
                <a:solidFill>
                  <a:srgbClr val="262626"/>
                </a:solidFill>
                <a:latin typeface="Arial"/>
                <a:cs typeface="Arial"/>
              </a:rPr>
            </a:br>
            <a:endParaRPr lang="da-DK" sz="1250" dirty="0">
              <a:solidFill>
                <a:srgbClr val="262626"/>
              </a:solidFill>
              <a:latin typeface="Arial"/>
              <a:cs typeface="Arial"/>
            </a:endParaRPr>
          </a:p>
          <a:p>
            <a:pPr marL="342900" indent="-342900" defTabSz="914400">
              <a:buAutoNum type="arabicPeriod"/>
            </a:pPr>
            <a:r>
              <a:rPr lang="da-DK" sz="1250" dirty="0" err="1">
                <a:solidFill>
                  <a:srgbClr val="262626"/>
                </a:solidFill>
                <a:latin typeface="Arial"/>
                <a:cs typeface="Arial"/>
              </a:rPr>
              <a:t>Use</a:t>
            </a:r>
            <a:r>
              <a:rPr lang="da-DK" sz="1250" dirty="0">
                <a:solidFill>
                  <a:srgbClr val="262626"/>
                </a:solidFill>
                <a:latin typeface="Arial"/>
                <a:cs typeface="Arial"/>
              </a:rPr>
              <a:t> of smart </a:t>
            </a:r>
            <a:r>
              <a:rPr lang="da-DK" sz="1250" dirty="0" err="1">
                <a:solidFill>
                  <a:srgbClr val="262626"/>
                </a:solidFill>
                <a:latin typeface="Arial"/>
                <a:cs typeface="Arial"/>
              </a:rPr>
              <a:t>contracts</a:t>
            </a:r>
            <a:r>
              <a:rPr lang="da-DK" sz="1250" dirty="0">
                <a:solidFill>
                  <a:srgbClr val="262626"/>
                </a:solidFill>
                <a:latin typeface="Arial"/>
                <a:cs typeface="Arial"/>
              </a:rPr>
              <a:t>, and types of </a:t>
            </a:r>
            <a:r>
              <a:rPr lang="da-DK" sz="1250" dirty="0" err="1">
                <a:solidFill>
                  <a:srgbClr val="262626"/>
                </a:solidFill>
                <a:latin typeface="Arial"/>
                <a:cs typeface="Arial"/>
              </a:rPr>
              <a:t>consensus</a:t>
            </a:r>
            <a:r>
              <a:rPr lang="da-DK" sz="1250" dirty="0">
                <a:solidFill>
                  <a:srgbClr val="262626"/>
                </a:solidFill>
                <a:latin typeface="Arial"/>
                <a:cs typeface="Arial"/>
              </a:rPr>
              <a:t> </a:t>
            </a:r>
            <a:r>
              <a:rPr lang="da-DK" sz="1250" dirty="0" err="1">
                <a:solidFill>
                  <a:srgbClr val="262626"/>
                </a:solidFill>
                <a:latin typeface="Arial"/>
                <a:cs typeface="Arial"/>
              </a:rPr>
              <a:t>mechanisms</a:t>
            </a:r>
            <a:r>
              <a:rPr lang="da-DK" sz="1250" dirty="0">
                <a:solidFill>
                  <a:srgbClr val="262626"/>
                </a:solidFill>
                <a:latin typeface="Arial"/>
                <a:cs typeface="Arial"/>
              </a:rPr>
              <a:t>?</a:t>
            </a:r>
          </a:p>
        </p:txBody>
      </p:sp>
    </p:spTree>
    <p:extLst>
      <p:ext uri="{BB962C8B-B14F-4D97-AF65-F5344CB8AC3E}">
        <p14:creationId xmlns:p14="http://schemas.microsoft.com/office/powerpoint/2010/main" val="38084731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Executive">
  <a:themeElements>
    <a:clrScheme name="Dark Blue">
      <a:dk1>
        <a:srgbClr val="000000"/>
      </a:dk1>
      <a:lt1>
        <a:srgbClr val="FFFFFF"/>
      </a:lt1>
      <a:dk2>
        <a:srgbClr val="242852"/>
      </a:dk2>
      <a:lt2>
        <a:srgbClr val="ACCBF9"/>
      </a:lt2>
      <a:accent1>
        <a:srgbClr val="629DD1"/>
      </a:accent1>
      <a:accent2>
        <a:srgbClr val="297FD5"/>
      </a:accent2>
      <a:accent3>
        <a:srgbClr val="7F8FA9"/>
      </a:accent3>
      <a:accent4>
        <a:srgbClr val="4A66AC"/>
      </a:accent4>
      <a:accent5>
        <a:srgbClr val="5AA2AE"/>
      </a:accent5>
      <a:accent6>
        <a:srgbClr val="9D90A0"/>
      </a:accent6>
      <a:hlink>
        <a:srgbClr val="9454C3"/>
      </a:hlink>
      <a:folHlink>
        <a:srgbClr val="3EBBF0"/>
      </a:folHlink>
    </a:clrScheme>
    <a:fontScheme name="Breeze">
      <a:majorFont>
        <a:latin typeface="News Gothic MT"/>
        <a:ea typeface=""/>
        <a:cs typeface=""/>
        <a:font script="Jpan" typeface="ＭＳ Ｐゴシック"/>
        <a:font script="Hans" typeface="宋体"/>
        <a:font script="Hant" typeface="新細明體"/>
      </a:majorFont>
      <a:minorFont>
        <a:latin typeface="News Gothic MT"/>
        <a:ea typeface=""/>
        <a:cs typeface=""/>
        <a:font script="Jpan" typeface="ＭＳ Ｐゴシック"/>
        <a:font script="Hans" typeface="宋体"/>
        <a:font script="Hant" typeface="新細明體"/>
      </a:minorFont>
    </a:fontScheme>
    <a:fmtScheme name="Executiv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8575" cap="flat" cmpd="sng" algn="ctr">
          <a:solidFill>
            <a:schemeClr val="phClr"/>
          </a:solidFill>
          <a:prstDash val="solid"/>
        </a:ln>
        <a:ln w="508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50000">
              <a:schemeClr val="phClr">
                <a:tint val="80000"/>
                <a:satMod val="250000"/>
              </a:schemeClr>
            </a:gs>
            <a:gs pos="76000">
              <a:schemeClr val="phClr">
                <a:tint val="90000"/>
                <a:shade val="90000"/>
                <a:satMod val="200000"/>
              </a:schemeClr>
            </a:gs>
            <a:gs pos="92000">
              <a:schemeClr val="phClr">
                <a:tint val="90000"/>
                <a:shade val="70000"/>
                <a:satMod val="250000"/>
              </a:schemeClr>
            </a:gs>
          </a:gsLst>
          <a:path path="circle">
            <a:fillToRect l="50000" t="50000" r="50000" b="50000"/>
          </a:path>
        </a:gradFill>
        <a:blipFill>
          <a:blip xmlns:r="http://schemas.openxmlformats.org/officeDocument/2006/relationships" r:embed="rId1">
            <a:duotone>
              <a:schemeClr val="phClr">
                <a:tint val="95000"/>
              </a:schemeClr>
              <a:schemeClr val="phClr">
                <a:shade val="90000"/>
              </a:schemeClr>
            </a:duotone>
          </a:blip>
          <a:tile tx="0" ty="0" sx="100000" sy="100000" flip="none" algn="tl"/>
        </a:blip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4DF6829C4779C4599C6FD5A8B2371C6" ma:contentTypeVersion="1" ma:contentTypeDescription="Create a new document." ma:contentTypeScope="" ma:versionID="ecdf59b346d5f2b3ae584581f0819460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1e26eccfdb4a9ed34bb437e5b77624a8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7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E671C59B-E52B-4756-92E6-FDCF992E1DF7}">
  <ds:schemaRefs>
    <ds:schemaRef ds:uri="http://schemas.microsoft.com/office/2006/metadata/properties"/>
    <ds:schemaRef ds:uri="http://schemas.microsoft.com/office/infopath/2007/PartnerControls"/>
  </ds:schemaRefs>
</ds:datastoreItem>
</file>

<file path=customXml/itemProps2.xml><?xml version="1.0" encoding="utf-8"?>
<ds:datastoreItem xmlns:ds="http://schemas.openxmlformats.org/officeDocument/2006/customXml" ds:itemID="{1BE59DE1-20C4-4A53-9401-612974F471B9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customXml/itemProps3.xml><?xml version="1.0" encoding="utf-8"?>
<ds:datastoreItem xmlns:ds="http://schemas.openxmlformats.org/officeDocument/2006/customXml" ds:itemID="{40E1CA3D-7190-4835-936C-76DBA06F5A99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Executive.thmx</Template>
  <TotalTime>11101</TotalTime>
  <Words>1409</Words>
  <Application>Microsoft Office PowerPoint</Application>
  <PresentationFormat>On-screen Show (16:9)</PresentationFormat>
  <Paragraphs>155</Paragraphs>
  <Slides>29</Slides>
  <Notes>20</Notes>
  <HiddenSlides>0</HiddenSlides>
  <MMClips>0</MMClip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29</vt:i4>
      </vt:variant>
    </vt:vector>
  </HeadingPairs>
  <TitlesOfParts>
    <vt:vector size="30" baseType="lpstr">
      <vt:lpstr>Executive</vt:lpstr>
      <vt:lpstr>L3:  Blockchain “Fit-for-Purpose” Framework for Healthcare</vt:lpstr>
      <vt:lpstr>Reinforcing Blockchain Basics and separating out the hype</vt:lpstr>
      <vt:lpstr>What is Blockchain?</vt:lpstr>
      <vt:lpstr>PowerPoint Presentation</vt:lpstr>
      <vt:lpstr>PowerPoint Presentation</vt:lpstr>
      <vt:lpstr>PowerPoint Presentation</vt:lpstr>
      <vt:lpstr>PowerPoint Presentation</vt:lpstr>
      <vt:lpstr>The ”Fit-for-Purpose” Framework</vt:lpstr>
      <vt:lpstr>PowerPoint Presentation</vt:lpstr>
      <vt:lpstr>PowerPoint Presentation</vt:lpstr>
      <vt:lpstr>PowerPoint Presentation</vt:lpstr>
      <vt:lpstr>PowerPoint Presentation</vt:lpstr>
      <vt:lpstr>Mapping to Blockchain Healthcare Use Cases</vt:lpstr>
      <vt:lpstr>Clinical Trials</vt:lpstr>
      <vt:lpstr>PowerPoint Presentation</vt:lpstr>
      <vt:lpstr>Medical Device</vt:lpstr>
      <vt:lpstr>Genomics</vt:lpstr>
      <vt:lpstr>PowerPoint Presentation</vt:lpstr>
      <vt:lpstr>Digital Health Identity</vt:lpstr>
      <vt:lpstr>Digital Health Identity</vt:lpstr>
      <vt:lpstr>Drug Supply Chai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Assignments</vt:lpstr>
      <vt:lpstr>Online Quiz</vt:lpstr>
      <vt:lpstr>Next module: Health Blockchain Stakeholders, Consortiums, and Governance </vt:lpstr>
    </vt:vector>
  </TitlesOfParts>
  <Company>UC San Diego Extension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UC San Diego Extension Overview</dc:title>
  <dc:creator>Juanita LaHaye</dc:creator>
  <cp:lastModifiedBy>Jamma, Melissa</cp:lastModifiedBy>
  <cp:revision>365</cp:revision>
  <dcterms:created xsi:type="dcterms:W3CDTF">2017-03-09T17:29:36Z</dcterms:created>
  <dcterms:modified xsi:type="dcterms:W3CDTF">2019-07-28T17:54:3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24DF6829C4779C4599C6FD5A8B2371C6</vt:lpwstr>
  </property>
</Properties>
</file>